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 bookmarkIdSeed="4">
  <p:sldMasterIdLst>
    <p:sldMasterId id="2147483660" r:id="rId1"/>
  </p:sldMasterIdLst>
  <p:notesMasterIdLst>
    <p:notesMasterId r:id="rId24"/>
  </p:notesMasterIdLst>
  <p:sldIdLst>
    <p:sldId id="257" r:id="rId2"/>
    <p:sldId id="262" r:id="rId3"/>
    <p:sldId id="287" r:id="rId4"/>
    <p:sldId id="290" r:id="rId5"/>
    <p:sldId id="329" r:id="rId6"/>
    <p:sldId id="324" r:id="rId7"/>
    <p:sldId id="328" r:id="rId8"/>
    <p:sldId id="263" r:id="rId9"/>
    <p:sldId id="266" r:id="rId10"/>
    <p:sldId id="277" r:id="rId11"/>
    <p:sldId id="274" r:id="rId12"/>
    <p:sldId id="288" r:id="rId13"/>
    <p:sldId id="278" r:id="rId14"/>
    <p:sldId id="268" r:id="rId15"/>
    <p:sldId id="330" r:id="rId16"/>
    <p:sldId id="289" r:id="rId17"/>
    <p:sldId id="269" r:id="rId18"/>
    <p:sldId id="260" r:id="rId19"/>
    <p:sldId id="270" r:id="rId20"/>
    <p:sldId id="271" r:id="rId21"/>
    <p:sldId id="272" r:id="rId22"/>
    <p:sldId id="273" r:id="rId23"/>
  </p:sldIdLst>
  <p:sldSz cx="12192000" cy="6858000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  <p15:guide id="3" orient="horz" pos="109">
          <p15:clr>
            <a:srgbClr val="A4A3A4"/>
          </p15:clr>
        </p15:guide>
        <p15:guide id="4" orient="horz" pos="543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1AEA9"/>
    <a:srgbClr val="D0D8D7"/>
    <a:srgbClr val="0099B8"/>
    <a:srgbClr val="F2F2F2"/>
    <a:srgbClr val="F3F3F3"/>
    <a:srgbClr val="009DA0"/>
    <a:srgbClr val="22B473"/>
    <a:srgbClr val="ABDDA4"/>
    <a:srgbClr val="D53E4F"/>
    <a:srgbClr val="FDAD6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2316" autoAdjust="0"/>
    <p:restoredTop sz="94660"/>
  </p:normalViewPr>
  <p:slideViewPr>
    <p:cSldViewPr snapToGrid="0" showGuides="1">
      <p:cViewPr varScale="1">
        <p:scale>
          <a:sx n="65" d="100"/>
          <a:sy n="65" d="100"/>
        </p:scale>
        <p:origin x="76" y="108"/>
      </p:cViewPr>
      <p:guideLst>
        <p:guide orient="horz" pos="2160"/>
        <p:guide pos="3840"/>
        <p:guide orient="horz" pos="109"/>
        <p:guide orient="horz" pos="543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viewProps" Target="view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514EE4B-FC34-45B8-B63D-92C7FADB5878}" type="datetimeFigureOut">
              <a:rPr lang="en-GB" smtClean="0"/>
              <a:t>25/09/2024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3D59929-738B-47E3-BBE1-8D7C89C59DC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3380360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2" Type="http://schemas.openxmlformats.org/officeDocument/2006/relationships/tags" Target="../tags/tag13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2" Type="http://schemas.openxmlformats.org/officeDocument/2006/relationships/tags" Target="../tags/tag15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2" Type="http://schemas.openxmlformats.org/officeDocument/2006/relationships/tags" Target="../tags/tag17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>
            <a:extLst>
              <a:ext uri="{FF2B5EF4-FFF2-40B4-BE49-F238E27FC236}">
                <a16:creationId xmlns:a16="http://schemas.microsoft.com/office/drawing/2014/main" id="{1FCA7687-F02F-7541-B844-ABD011DDC0D1}"/>
              </a:ext>
            </a:extLst>
          </p:cNvPr>
          <p:cNvSpPr/>
          <p:nvPr userDrawn="1"/>
        </p:nvSpPr>
        <p:spPr>
          <a:xfrm>
            <a:off x="1207911" y="2020711"/>
            <a:ext cx="9787467" cy="4086578"/>
          </a:xfrm>
          <a:prstGeom prst="rect">
            <a:avLst/>
          </a:prstGeom>
          <a:solidFill>
            <a:srgbClr val="F1F1F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300" b="1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429200" y="2196000"/>
            <a:ext cx="9322800" cy="1548000"/>
          </a:xfrm>
          <a:prstGeom prst="rect">
            <a:avLst/>
          </a:prstGeom>
        </p:spPr>
        <p:txBody>
          <a:bodyPr anchor="t" anchorCtr="0"/>
          <a:lstStyle>
            <a:lvl1pPr algn="l">
              <a:lnSpc>
                <a:spcPts val="2600"/>
              </a:lnSpc>
              <a:defRPr sz="2300" spc="200" baseline="0">
                <a:solidFill>
                  <a:srgbClr val="006C66"/>
                </a:solidFill>
              </a:defRPr>
            </a:lvl1pPr>
          </a:lstStyle>
          <a:p>
            <a:r>
              <a:rPr lang="de-DE" dirty="0"/>
              <a:t>Title </a:t>
            </a:r>
            <a:r>
              <a:rPr lang="de-DE" dirty="0" err="1"/>
              <a:t>master</a:t>
            </a:r>
            <a:r>
              <a:rPr lang="de-DE" dirty="0"/>
              <a:t> – Click </a:t>
            </a:r>
            <a:r>
              <a:rPr lang="de-DE" dirty="0" err="1"/>
              <a:t>her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tit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440000" y="3744000"/>
            <a:ext cx="5031920" cy="2160000"/>
          </a:xfrm>
        </p:spPr>
        <p:txBody>
          <a:bodyPr anchor="b" anchorCtr="0"/>
          <a:lstStyle>
            <a:lvl1pPr marL="0" indent="0" algn="l">
              <a:spcBef>
                <a:spcPts val="2300"/>
              </a:spcBef>
              <a:buNone/>
              <a:defRPr sz="1900" b="0" spc="100" baseline="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Template </a:t>
            </a:r>
            <a:r>
              <a:rPr lang="de-DE" dirty="0" err="1"/>
              <a:t>for</a:t>
            </a:r>
            <a:r>
              <a:rPr lang="de-DE" dirty="0"/>
              <a:t> sub-title </a:t>
            </a:r>
            <a:r>
              <a:rPr lang="de-DE" dirty="0" err="1"/>
              <a:t>master</a:t>
            </a:r>
            <a:r>
              <a:rPr lang="de-DE" dirty="0"/>
              <a:t>: </a:t>
            </a:r>
            <a:r>
              <a:rPr lang="de-DE" dirty="0" err="1"/>
              <a:t>click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BB6CBE7-1545-4E8E-9750-1FCBFC40010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en-US"/>
              <a:t>Max Planck Institute for demographic research                                                                                                                                                                               SEASONAL MORTALITY IN EUROPE | 26/09/2024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1469936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fields (text/picture/char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434D6FFE-C346-403E-A982-395E5408109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587792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78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8FC65B91-E784-4354-A701-802A4C59DD9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947739" y="2097088"/>
            <a:ext cx="4860000" cy="4310912"/>
          </a:xfrm>
        </p:spPr>
        <p:txBody>
          <a:bodyPr/>
          <a:lstStyle>
            <a:lvl1pPr>
              <a:lnSpc>
                <a:spcPts val="2500"/>
              </a:lnSpc>
              <a:defRPr sz="1800" b="0"/>
            </a:lvl1pPr>
            <a:lvl2pPr>
              <a:defRPr/>
            </a:lvl2pPr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  <a:lvl5pPr>
              <a:defRPr/>
            </a:lvl5pPr>
          </a:lstStyle>
          <a:p>
            <a:pPr lvl="0"/>
            <a:r>
              <a:rPr lang="de-DE" dirty="0" err="1"/>
              <a:t>Editing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style </a:t>
            </a:r>
            <a:r>
              <a:rPr lang="de-DE" dirty="0" err="1"/>
              <a:t>sheet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master</a:t>
            </a:r>
            <a:endParaRPr lang="de-DE" dirty="0"/>
          </a:p>
          <a:p>
            <a:pPr lvl="1"/>
            <a:r>
              <a:rPr lang="de-DE" dirty="0"/>
              <a:t>Level 2</a:t>
            </a:r>
          </a:p>
          <a:p>
            <a:pPr lvl="2"/>
            <a:r>
              <a:rPr lang="de-DE" dirty="0"/>
              <a:t>Level 3</a:t>
            </a:r>
          </a:p>
          <a:p>
            <a:pPr lvl="3"/>
            <a:r>
              <a:rPr lang="de-DE" dirty="0"/>
              <a:t>Level 4</a:t>
            </a:r>
          </a:p>
          <a:p>
            <a:pPr lvl="4"/>
            <a:r>
              <a:rPr lang="de-DE" dirty="0"/>
              <a:t>Level 5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096000" y="2097088"/>
            <a:ext cx="5148263" cy="4310912"/>
          </a:xfrm>
        </p:spPr>
        <p:txBody>
          <a:bodyPr/>
          <a:lstStyle>
            <a:lvl1pPr>
              <a:lnSpc>
                <a:spcPts val="2500"/>
              </a:lnSpc>
              <a:defRPr sz="1800" b="0"/>
            </a:lvl1pPr>
            <a:lvl2pPr>
              <a:defRPr/>
            </a:lvl2pPr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  <a:lvl5pPr>
              <a:defRPr/>
            </a:lvl5pPr>
          </a:lstStyle>
          <a:p>
            <a:pPr lvl="0"/>
            <a:r>
              <a:rPr lang="de-DE" dirty="0" err="1"/>
              <a:t>Editing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style </a:t>
            </a:r>
            <a:r>
              <a:rPr lang="de-DE" dirty="0" err="1"/>
              <a:t>sheet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master</a:t>
            </a:r>
            <a:endParaRPr lang="de-DE" dirty="0"/>
          </a:p>
          <a:p>
            <a:pPr lvl="1"/>
            <a:r>
              <a:rPr lang="de-DE" dirty="0"/>
              <a:t>Level 2</a:t>
            </a:r>
          </a:p>
          <a:p>
            <a:pPr lvl="2"/>
            <a:r>
              <a:rPr lang="de-DE" dirty="0"/>
              <a:t>Level 3</a:t>
            </a:r>
          </a:p>
          <a:p>
            <a:pPr lvl="3"/>
            <a:r>
              <a:rPr lang="de-DE" dirty="0"/>
              <a:t>Level 4</a:t>
            </a:r>
          </a:p>
          <a:p>
            <a:pPr lvl="4"/>
            <a:r>
              <a:rPr lang="de-DE" dirty="0"/>
              <a:t>Level 5</a:t>
            </a:r>
            <a:endParaRPr lang="en-US" dirty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A41C9CA6-6D1C-4ADA-8260-CCE7AD3CBD8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en-US"/>
              <a:t>Max Planck Institute for demographic research                                                                                                                                                                               SEASONAL MORTALITY IN EUROPE | 26/09/2024</a:t>
            </a:r>
            <a:endParaRPr lang="de-DE" dirty="0"/>
          </a:p>
        </p:txBody>
      </p:sp>
      <p:sp>
        <p:nvSpPr>
          <p:cNvPr id="8" name="Title 8">
            <a:extLst>
              <a:ext uri="{FF2B5EF4-FFF2-40B4-BE49-F238E27FC236}">
                <a16:creationId xmlns:a16="http://schemas.microsoft.com/office/drawing/2014/main" id="{B9FF6589-208D-EB40-B483-E5F8DF134B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47739" y="813262"/>
            <a:ext cx="10296524" cy="1283824"/>
          </a:xfrm>
        </p:spPr>
        <p:txBody>
          <a:bodyPr/>
          <a:lstStyle>
            <a:lvl1pPr>
              <a:defRPr spc="200" baseline="0">
                <a:solidFill>
                  <a:srgbClr val="006C66"/>
                </a:solidFill>
              </a:defRPr>
            </a:lvl1pPr>
          </a:lstStyle>
          <a:p>
            <a:r>
              <a:rPr lang="de-DE" dirty="0"/>
              <a:t>Title </a:t>
            </a:r>
            <a:r>
              <a:rPr lang="de-DE" dirty="0" err="1"/>
              <a:t>master</a:t>
            </a:r>
            <a:r>
              <a:rPr lang="de-DE" dirty="0"/>
              <a:t> – Click </a:t>
            </a:r>
            <a:r>
              <a:rPr lang="de-DE" dirty="0" err="1"/>
              <a:t>her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title</a:t>
            </a:r>
          </a:p>
        </p:txBody>
      </p:sp>
    </p:spTree>
    <p:extLst>
      <p:ext uri="{BB962C8B-B14F-4D97-AF65-F5344CB8AC3E}">
        <p14:creationId xmlns:p14="http://schemas.microsoft.com/office/powerpoint/2010/main" val="240470266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1 colum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059122B-6621-47D1-A7DC-B86D3C66D4F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447012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00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2B497B3-7BCD-436C-BE19-C4ED853A13E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947739" y="2097088"/>
            <a:ext cx="10296524" cy="4310912"/>
          </a:xfrm>
        </p:spPr>
        <p:txBody>
          <a:bodyPr numCol="1" spcCol="540000"/>
          <a:lstStyle>
            <a:lvl1pPr>
              <a:lnSpc>
                <a:spcPts val="2500"/>
              </a:lnSpc>
              <a:defRPr sz="1800" b="0"/>
            </a:lvl1pPr>
            <a:lvl2pPr>
              <a:defRPr/>
            </a:lvl2pPr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  <a:lvl5pPr>
              <a:defRPr/>
            </a:lvl5pPr>
          </a:lstStyle>
          <a:p>
            <a:pPr lvl="0"/>
            <a:r>
              <a:rPr lang="de-DE" dirty="0" err="1"/>
              <a:t>Editing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style </a:t>
            </a:r>
            <a:r>
              <a:rPr lang="de-DE" dirty="0" err="1"/>
              <a:t>sheet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master</a:t>
            </a:r>
            <a:endParaRPr lang="de-DE" dirty="0"/>
          </a:p>
          <a:p>
            <a:pPr lvl="1"/>
            <a:r>
              <a:rPr lang="de-DE" dirty="0"/>
              <a:t>Level 2</a:t>
            </a:r>
          </a:p>
          <a:p>
            <a:pPr lvl="2"/>
            <a:r>
              <a:rPr lang="de-DE" dirty="0"/>
              <a:t>Level 3</a:t>
            </a:r>
          </a:p>
          <a:p>
            <a:pPr lvl="3"/>
            <a:r>
              <a:rPr lang="de-DE" dirty="0"/>
              <a:t>Level 4</a:t>
            </a:r>
          </a:p>
          <a:p>
            <a:pPr lvl="4"/>
            <a:r>
              <a:rPr lang="de-DE" dirty="0"/>
              <a:t>Level 5</a:t>
            </a:r>
            <a:endParaRPr lang="en-US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71A4F4E8-41E6-43E5-86D4-144034C85E4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en-US"/>
              <a:t>Max Planck Institute for demographic research                                                                                                                                                                               SEASONAL MORTALITY IN EUROPE | 26/09/2024</a:t>
            </a:r>
            <a:endParaRPr lang="de-DE" dirty="0"/>
          </a:p>
        </p:txBody>
      </p:sp>
      <p:sp>
        <p:nvSpPr>
          <p:cNvPr id="7" name="Title 8">
            <a:extLst>
              <a:ext uri="{FF2B5EF4-FFF2-40B4-BE49-F238E27FC236}">
                <a16:creationId xmlns:a16="http://schemas.microsoft.com/office/drawing/2014/main" id="{AA5BA017-A349-4547-A095-6A28324BB76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47739" y="813262"/>
            <a:ext cx="10296524" cy="1283824"/>
          </a:xfrm>
        </p:spPr>
        <p:txBody>
          <a:bodyPr/>
          <a:lstStyle>
            <a:lvl1pPr>
              <a:defRPr spc="200" baseline="0">
                <a:solidFill>
                  <a:srgbClr val="006C66"/>
                </a:solidFill>
              </a:defRPr>
            </a:lvl1pPr>
          </a:lstStyle>
          <a:p>
            <a:r>
              <a:rPr lang="de-DE" dirty="0"/>
              <a:t>Title </a:t>
            </a:r>
            <a:r>
              <a:rPr lang="de-DE" dirty="0" err="1"/>
              <a:t>master</a:t>
            </a:r>
            <a:r>
              <a:rPr lang="de-DE" dirty="0"/>
              <a:t> – Click </a:t>
            </a:r>
            <a:r>
              <a:rPr lang="de-DE" dirty="0" err="1"/>
              <a:t>her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title</a:t>
            </a:r>
          </a:p>
        </p:txBody>
      </p:sp>
    </p:spTree>
    <p:extLst>
      <p:ext uri="{BB962C8B-B14F-4D97-AF65-F5344CB8AC3E}">
        <p14:creationId xmlns:p14="http://schemas.microsoft.com/office/powerpoint/2010/main" val="113533691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fields (text/picture/char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D73405DF-DDE4-4B3F-BD48-FC67B9175B2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180586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26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EEA7A5B-CC69-48D1-B35F-8500863105E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947738" y="2097088"/>
            <a:ext cx="3217861" cy="4310912"/>
          </a:xfrm>
        </p:spPr>
        <p:txBody>
          <a:bodyPr/>
          <a:lstStyle>
            <a:lvl1pPr>
              <a:defRPr b="0"/>
            </a:lvl1pPr>
            <a:lvl2pPr>
              <a:defRPr/>
            </a:lvl2pPr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  <a:lvl5pPr>
              <a:defRPr/>
            </a:lvl5pPr>
          </a:lstStyle>
          <a:p>
            <a:pPr lvl="0"/>
            <a:r>
              <a:rPr lang="de-DE" dirty="0" err="1"/>
              <a:t>Editing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style </a:t>
            </a:r>
            <a:r>
              <a:rPr lang="de-DE" dirty="0" err="1"/>
              <a:t>sheet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master</a:t>
            </a:r>
            <a:endParaRPr lang="de-DE" dirty="0"/>
          </a:p>
          <a:p>
            <a:pPr lvl="1"/>
            <a:r>
              <a:rPr lang="de-DE" dirty="0"/>
              <a:t>Level 2</a:t>
            </a:r>
          </a:p>
          <a:p>
            <a:pPr lvl="2"/>
            <a:r>
              <a:rPr lang="de-DE" dirty="0"/>
              <a:t>Level 3</a:t>
            </a:r>
          </a:p>
          <a:p>
            <a:pPr lvl="3"/>
            <a:r>
              <a:rPr lang="de-DE" dirty="0"/>
              <a:t>Level 4</a:t>
            </a:r>
          </a:p>
          <a:p>
            <a:pPr lvl="4"/>
            <a:r>
              <a:rPr lang="de-DE" dirty="0"/>
              <a:t>Level 5</a:t>
            </a:r>
            <a:endParaRPr lang="en-US" dirty="0"/>
          </a:p>
        </p:txBody>
      </p:sp>
      <p:sp>
        <p:nvSpPr>
          <p:cNvPr id="7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487070" y="2097088"/>
            <a:ext cx="3217861" cy="4310912"/>
          </a:xfrm>
        </p:spPr>
        <p:txBody>
          <a:bodyPr/>
          <a:lstStyle>
            <a:lvl1pPr>
              <a:defRPr b="0"/>
            </a:lvl1pPr>
            <a:lvl2pPr>
              <a:defRPr/>
            </a:lvl2pPr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  <a:lvl5pPr>
              <a:defRPr/>
            </a:lvl5pPr>
          </a:lstStyle>
          <a:p>
            <a:pPr lvl="0"/>
            <a:r>
              <a:rPr lang="de-DE" dirty="0" err="1"/>
              <a:t>Editing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style </a:t>
            </a:r>
            <a:r>
              <a:rPr lang="de-DE" dirty="0" err="1"/>
              <a:t>sheet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master</a:t>
            </a:r>
            <a:endParaRPr lang="de-DE" dirty="0"/>
          </a:p>
          <a:p>
            <a:pPr lvl="1"/>
            <a:r>
              <a:rPr lang="de-DE" dirty="0"/>
              <a:t>Level 2</a:t>
            </a:r>
          </a:p>
          <a:p>
            <a:pPr lvl="2"/>
            <a:r>
              <a:rPr lang="de-DE" dirty="0"/>
              <a:t>Level 3</a:t>
            </a:r>
          </a:p>
          <a:p>
            <a:pPr lvl="3"/>
            <a:r>
              <a:rPr lang="de-DE" dirty="0"/>
              <a:t>Level 4</a:t>
            </a:r>
          </a:p>
          <a:p>
            <a:pPr lvl="4"/>
            <a:r>
              <a:rPr lang="de-DE" dirty="0"/>
              <a:t>Level 5</a:t>
            </a:r>
            <a:endParaRPr lang="en-US" dirty="0"/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51F02B2B-2724-554D-82D3-E93B5519A17A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8026402" y="2097088"/>
            <a:ext cx="3217861" cy="4310912"/>
          </a:xfrm>
        </p:spPr>
        <p:txBody>
          <a:bodyPr/>
          <a:lstStyle>
            <a:lvl1pPr>
              <a:defRPr b="0"/>
            </a:lvl1pPr>
            <a:lvl2pPr>
              <a:defRPr/>
            </a:lvl2pPr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  <a:lvl5pPr>
              <a:defRPr/>
            </a:lvl5pPr>
          </a:lstStyle>
          <a:p>
            <a:pPr lvl="0"/>
            <a:r>
              <a:rPr lang="de-DE" dirty="0" err="1"/>
              <a:t>Editing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style </a:t>
            </a:r>
            <a:r>
              <a:rPr lang="de-DE" dirty="0" err="1"/>
              <a:t>sheet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master</a:t>
            </a:r>
            <a:endParaRPr lang="de-DE" dirty="0"/>
          </a:p>
          <a:p>
            <a:pPr lvl="1"/>
            <a:r>
              <a:rPr lang="de-DE" dirty="0"/>
              <a:t>Level 2</a:t>
            </a:r>
          </a:p>
          <a:p>
            <a:pPr lvl="2"/>
            <a:r>
              <a:rPr lang="de-DE" dirty="0"/>
              <a:t>Level 3</a:t>
            </a:r>
          </a:p>
          <a:p>
            <a:pPr lvl="3"/>
            <a:r>
              <a:rPr lang="de-DE" dirty="0"/>
              <a:t>Level 4</a:t>
            </a:r>
          </a:p>
          <a:p>
            <a:pPr lvl="4"/>
            <a:r>
              <a:rPr lang="de-DE" dirty="0"/>
              <a:t>Level 5</a:t>
            </a:r>
            <a:endParaRPr lang="en-US" dirty="0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B67601A5-58AC-4B70-8384-E8B22377E0CA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en-US"/>
              <a:t>Max Planck Institute for demographic research                                                                                                                                                                               SEASONAL MORTALITY IN EUROPE | 26/09/2024</a:t>
            </a:r>
            <a:endParaRPr lang="de-DE" dirty="0"/>
          </a:p>
        </p:txBody>
      </p:sp>
      <p:sp>
        <p:nvSpPr>
          <p:cNvPr id="10" name="Title 8">
            <a:extLst>
              <a:ext uri="{FF2B5EF4-FFF2-40B4-BE49-F238E27FC236}">
                <a16:creationId xmlns:a16="http://schemas.microsoft.com/office/drawing/2014/main" id="{930500AC-72D1-E94E-B004-A9ED30D1C70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47739" y="813262"/>
            <a:ext cx="10296524" cy="1238638"/>
          </a:xfrm>
        </p:spPr>
        <p:txBody>
          <a:bodyPr/>
          <a:lstStyle>
            <a:lvl1pPr>
              <a:defRPr>
                <a:solidFill>
                  <a:srgbClr val="006C66"/>
                </a:solidFill>
              </a:defRPr>
            </a:lvl1pPr>
          </a:lstStyle>
          <a:p>
            <a:r>
              <a:rPr lang="de-DE" dirty="0"/>
              <a:t>Title </a:t>
            </a:r>
            <a:r>
              <a:rPr lang="de-DE" dirty="0" err="1"/>
              <a:t>master</a:t>
            </a:r>
            <a:r>
              <a:rPr lang="de-DE" dirty="0"/>
              <a:t> – Click </a:t>
            </a:r>
            <a:r>
              <a:rPr lang="de-DE" dirty="0" err="1"/>
              <a:t>her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title</a:t>
            </a:r>
          </a:p>
        </p:txBody>
      </p:sp>
    </p:spTree>
    <p:extLst>
      <p:ext uri="{BB962C8B-B14F-4D97-AF65-F5344CB8AC3E}">
        <p14:creationId xmlns:p14="http://schemas.microsoft.com/office/powerpoint/2010/main" val="216934342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+1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EA1D4A37-1331-435B-A211-7068997FD9A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705664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45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7193015A-FC55-4B7E-8DBE-5DF6AAB16C8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823200" y="2097088"/>
            <a:ext cx="3421063" cy="4310912"/>
          </a:xfrm>
        </p:spPr>
        <p:txBody>
          <a:bodyPr/>
          <a:lstStyle>
            <a:lvl1pPr>
              <a:defRPr b="0"/>
            </a:lvl1pPr>
            <a:lvl2pPr>
              <a:defRPr/>
            </a:lvl2pPr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  <a:lvl5pPr>
              <a:defRPr/>
            </a:lvl5pPr>
          </a:lstStyle>
          <a:p>
            <a:pPr lvl="0"/>
            <a:r>
              <a:rPr lang="de-DE" dirty="0" err="1"/>
              <a:t>Editing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style </a:t>
            </a:r>
            <a:r>
              <a:rPr lang="de-DE" dirty="0" err="1"/>
              <a:t>sheet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master</a:t>
            </a:r>
            <a:endParaRPr lang="de-DE" dirty="0"/>
          </a:p>
          <a:p>
            <a:pPr lvl="1"/>
            <a:r>
              <a:rPr lang="de-DE" dirty="0"/>
              <a:t>Level 2</a:t>
            </a:r>
          </a:p>
          <a:p>
            <a:pPr lvl="2"/>
            <a:r>
              <a:rPr lang="de-DE" dirty="0"/>
              <a:t>Level 3</a:t>
            </a:r>
          </a:p>
          <a:p>
            <a:pPr lvl="3"/>
            <a:r>
              <a:rPr lang="de-DE" dirty="0"/>
              <a:t>Level 4</a:t>
            </a:r>
          </a:p>
          <a:p>
            <a:pPr lvl="4"/>
            <a:r>
              <a:rPr lang="de-DE" dirty="0"/>
              <a:t>Level 5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947738" y="2097088"/>
            <a:ext cx="6804341" cy="4310912"/>
          </a:xfrm>
        </p:spPr>
        <p:txBody>
          <a:bodyPr/>
          <a:lstStyle>
            <a:lvl1pPr>
              <a:defRPr b="0"/>
            </a:lvl1pPr>
            <a:lvl2pPr>
              <a:defRPr/>
            </a:lvl2pPr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  <a:lvl5pPr>
              <a:defRPr/>
            </a:lvl5pPr>
          </a:lstStyle>
          <a:p>
            <a:pPr lvl="0"/>
            <a:r>
              <a:rPr lang="de-DE" dirty="0" err="1"/>
              <a:t>Editing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style </a:t>
            </a:r>
            <a:r>
              <a:rPr lang="de-DE" dirty="0" err="1"/>
              <a:t>sheet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master</a:t>
            </a:r>
            <a:endParaRPr lang="de-DE" dirty="0"/>
          </a:p>
          <a:p>
            <a:pPr lvl="1"/>
            <a:r>
              <a:rPr lang="de-DE" dirty="0"/>
              <a:t>Level 2</a:t>
            </a:r>
          </a:p>
          <a:p>
            <a:pPr lvl="2"/>
            <a:r>
              <a:rPr lang="de-DE" dirty="0"/>
              <a:t>Level 3</a:t>
            </a:r>
          </a:p>
          <a:p>
            <a:pPr lvl="3"/>
            <a:r>
              <a:rPr lang="de-DE" dirty="0"/>
              <a:t>Level 4</a:t>
            </a:r>
          </a:p>
          <a:p>
            <a:pPr lvl="4"/>
            <a:r>
              <a:rPr lang="de-DE" dirty="0"/>
              <a:t>Level 5</a:t>
            </a:r>
            <a:endParaRPr lang="en-US" dirty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E902DFC1-1B36-4B69-A65A-1E64FEF5C1F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en-US"/>
              <a:t>Max Planck Institute for demographic research                                                                                                                                                                               SEASONAL MORTALITY IN EUROPE | 26/09/2024</a:t>
            </a:r>
            <a:endParaRPr lang="de-DE" dirty="0"/>
          </a:p>
        </p:txBody>
      </p:sp>
      <p:sp>
        <p:nvSpPr>
          <p:cNvPr id="8" name="Title 8">
            <a:extLst>
              <a:ext uri="{FF2B5EF4-FFF2-40B4-BE49-F238E27FC236}">
                <a16:creationId xmlns:a16="http://schemas.microsoft.com/office/drawing/2014/main" id="{54B59DE1-0A1D-E442-B44C-0645F9F54C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47739" y="813262"/>
            <a:ext cx="10296524" cy="1283824"/>
          </a:xfrm>
        </p:spPr>
        <p:txBody>
          <a:bodyPr/>
          <a:lstStyle>
            <a:lvl1pPr>
              <a:defRPr>
                <a:solidFill>
                  <a:srgbClr val="006C66"/>
                </a:solidFill>
              </a:defRPr>
            </a:lvl1pPr>
          </a:lstStyle>
          <a:p>
            <a:r>
              <a:rPr lang="de-DE" dirty="0"/>
              <a:t>Title </a:t>
            </a:r>
            <a:r>
              <a:rPr lang="de-DE" dirty="0" err="1"/>
              <a:t>master</a:t>
            </a:r>
            <a:r>
              <a:rPr lang="de-DE" dirty="0"/>
              <a:t> – Click </a:t>
            </a:r>
            <a:r>
              <a:rPr lang="de-DE" dirty="0" err="1"/>
              <a:t>her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title</a:t>
            </a:r>
          </a:p>
        </p:txBody>
      </p:sp>
    </p:spTree>
    <p:extLst>
      <p:ext uri="{BB962C8B-B14F-4D97-AF65-F5344CB8AC3E}">
        <p14:creationId xmlns:p14="http://schemas.microsoft.com/office/powerpoint/2010/main" val="167756719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Chapter separator / End">
    <p:bg>
      <p:bgPr>
        <a:blipFill dpi="0"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33000"/>
                    </a14:imgEffect>
                  </a14:imgLayer>
                </a14:imgProps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007998" y="3429000"/>
            <a:ext cx="5449246" cy="1621940"/>
          </a:xfrm>
          <a:prstGeom prst="rect">
            <a:avLst/>
          </a:prstGeom>
        </p:spPr>
        <p:txBody>
          <a:bodyPr anchor="t" anchorCtr="0"/>
          <a:lstStyle>
            <a:lvl1pPr>
              <a:defRPr sz="2300" spc="230" baseline="0">
                <a:solidFill>
                  <a:srgbClr val="006C66"/>
                </a:solidFill>
              </a:defRPr>
            </a:lvl1pPr>
          </a:lstStyle>
          <a:p>
            <a:r>
              <a:rPr lang="de-DE" dirty="0"/>
              <a:t>Title </a:t>
            </a:r>
            <a:r>
              <a:rPr lang="de-DE" dirty="0" err="1"/>
              <a:t>master</a:t>
            </a:r>
            <a:r>
              <a:rPr lang="de-DE" dirty="0"/>
              <a:t> – Click </a:t>
            </a:r>
            <a:r>
              <a:rPr lang="de-DE" dirty="0" err="1"/>
              <a:t>her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title</a:t>
            </a:r>
            <a:endParaRPr lang="en-US" dirty="0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5450D214-B6EE-034A-8488-56AD76218289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7998" y="5050940"/>
            <a:ext cx="1218350" cy="5611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138176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Titl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>
            <a:extLst>
              <a:ext uri="{FF2B5EF4-FFF2-40B4-BE49-F238E27FC236}">
                <a16:creationId xmlns:a16="http://schemas.microsoft.com/office/drawing/2014/main" id="{1FCA7687-F02F-7541-B844-ABD011DDC0D1}"/>
              </a:ext>
            </a:extLst>
          </p:cNvPr>
          <p:cNvSpPr/>
          <p:nvPr userDrawn="1"/>
        </p:nvSpPr>
        <p:spPr>
          <a:xfrm>
            <a:off x="1207911" y="2020711"/>
            <a:ext cx="9787467" cy="4086578"/>
          </a:xfrm>
          <a:prstGeom prst="rect">
            <a:avLst/>
          </a:prstGeom>
          <a:solidFill>
            <a:srgbClr val="006C66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300" b="1" dirty="0">
              <a:solidFill>
                <a:srgbClr val="006C66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429200" y="2196000"/>
            <a:ext cx="9322800" cy="1548000"/>
          </a:xfrm>
          <a:prstGeom prst="rect">
            <a:avLst/>
          </a:prstGeom>
        </p:spPr>
        <p:txBody>
          <a:bodyPr anchor="t" anchorCtr="0"/>
          <a:lstStyle>
            <a:lvl1pPr algn="l">
              <a:lnSpc>
                <a:spcPts val="2600"/>
              </a:lnSpc>
              <a:defRPr sz="2300" spc="200" baseline="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itle </a:t>
            </a:r>
            <a:r>
              <a:rPr lang="de-DE" dirty="0" err="1"/>
              <a:t>master</a:t>
            </a:r>
            <a:r>
              <a:rPr lang="de-DE" dirty="0"/>
              <a:t> – Click </a:t>
            </a:r>
            <a:r>
              <a:rPr lang="de-DE" dirty="0" err="1"/>
              <a:t>her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tit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440000" y="3744000"/>
            <a:ext cx="5001440" cy="2160000"/>
          </a:xfrm>
        </p:spPr>
        <p:txBody>
          <a:bodyPr anchor="b" anchorCtr="0"/>
          <a:lstStyle>
            <a:lvl1pPr marL="0" indent="0" algn="l">
              <a:spcBef>
                <a:spcPts val="2300"/>
              </a:spcBef>
              <a:buNone/>
              <a:defRPr sz="1900" b="0" spc="100" baseline="0">
                <a:solidFill>
                  <a:schemeClr val="bg1"/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Template </a:t>
            </a:r>
            <a:r>
              <a:rPr lang="de-DE" dirty="0" err="1"/>
              <a:t>for</a:t>
            </a:r>
            <a:r>
              <a:rPr lang="de-DE" dirty="0"/>
              <a:t> sub-title </a:t>
            </a:r>
            <a:r>
              <a:rPr lang="de-DE" dirty="0" err="1"/>
              <a:t>master</a:t>
            </a:r>
            <a:r>
              <a:rPr lang="de-DE" dirty="0"/>
              <a:t>: </a:t>
            </a:r>
            <a:r>
              <a:rPr lang="de-DE" dirty="0" err="1"/>
              <a:t>click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BB6CBE7-1545-4E8E-9750-1FCBFC40010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en-US"/>
              <a:t>Max Planck Institute for demographic research                                                                                                                                                                               SEASONAL MORTALITY IN EUROPE | 26/09/2024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494836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with pictur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 7">
            <a:extLst>
              <a:ext uri="{FF2B5EF4-FFF2-40B4-BE49-F238E27FC236}">
                <a16:creationId xmlns:a16="http://schemas.microsoft.com/office/drawing/2014/main" id="{A71ADE3B-C90A-3546-B749-0ACBB53B7BF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216025" y="2020711"/>
            <a:ext cx="9747249" cy="4086578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812800" y="1016000"/>
            <a:ext cx="3451225" cy="1840089"/>
          </a:xfrm>
          <a:prstGeom prst="rect">
            <a:avLst/>
          </a:prstGeom>
          <a:solidFill>
            <a:srgbClr val="F1F1F1"/>
          </a:solidFill>
          <a:ln>
            <a:noFill/>
          </a:ln>
        </p:spPr>
        <p:txBody>
          <a:bodyPr wrap="square" lIns="198000" tIns="158400" rIns="108000" bIns="108000" anchor="t" anchorCtr="0">
            <a:noAutofit/>
          </a:bodyPr>
          <a:lstStyle>
            <a:lvl1pPr algn="l">
              <a:lnSpc>
                <a:spcPts val="2600"/>
              </a:lnSpc>
              <a:defRPr sz="2000" baseline="0">
                <a:solidFill>
                  <a:srgbClr val="006C66"/>
                </a:solidFill>
              </a:defRPr>
            </a:lvl1pPr>
          </a:lstStyle>
          <a:p>
            <a:r>
              <a:rPr lang="de-DE" dirty="0"/>
              <a:t>Title Master:  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endParaRPr lang="en-US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4D6017DF-16E5-4F68-B2C1-0378C00DDDE3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en-US"/>
              <a:t>Max Planck Institute for demographic research                                                                                                                                                                               SEASONAL MORTALITY IN EUROPE | 26/09/2024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0578719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Title slide with pictur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 7">
            <a:extLst>
              <a:ext uri="{FF2B5EF4-FFF2-40B4-BE49-F238E27FC236}">
                <a16:creationId xmlns:a16="http://schemas.microsoft.com/office/drawing/2014/main" id="{A71ADE3B-C90A-3546-B749-0ACBB53B7BF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216025" y="2020711"/>
            <a:ext cx="9747249" cy="4086578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812800" y="1016001"/>
            <a:ext cx="3451225" cy="822960"/>
          </a:xfrm>
          <a:prstGeom prst="rect">
            <a:avLst/>
          </a:prstGeom>
          <a:solidFill>
            <a:srgbClr val="F1F1F1"/>
          </a:solidFill>
          <a:ln>
            <a:noFill/>
          </a:ln>
        </p:spPr>
        <p:txBody>
          <a:bodyPr wrap="square" lIns="198000" tIns="158400" rIns="108000" bIns="108000" anchor="t" anchorCtr="0">
            <a:noAutofit/>
          </a:bodyPr>
          <a:lstStyle>
            <a:lvl1pPr algn="l">
              <a:lnSpc>
                <a:spcPts val="2600"/>
              </a:lnSpc>
              <a:defRPr sz="2000" baseline="0">
                <a:solidFill>
                  <a:srgbClr val="006C66"/>
                </a:solidFill>
              </a:defRPr>
            </a:lvl1pPr>
          </a:lstStyle>
          <a:p>
            <a:r>
              <a:rPr lang="de-DE" dirty="0"/>
              <a:t>Agenda</a:t>
            </a:r>
            <a:endParaRPr lang="en-US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4D6017DF-16E5-4F68-B2C1-0378C00DDDE3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en-US"/>
              <a:t>Max Planck Institute for demographic research                                                                                                                                                                               SEASONAL MORTALITY IN EUROPE | 26/09/2024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2672380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eg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A60F433-92AC-4993-A4E4-F4A2A5A5475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583310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28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340841A0-F483-42BB-B94E-8E965D6056F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947739" y="2097087"/>
            <a:ext cx="10296524" cy="4319587"/>
          </a:xfrm>
        </p:spPr>
        <p:txBody>
          <a:bodyPr/>
          <a:lstStyle>
            <a:lvl1pPr>
              <a:spcBef>
                <a:spcPts val="1150"/>
              </a:spcBef>
              <a:tabLst>
                <a:tab pos="180000" algn="l"/>
                <a:tab pos="360000" algn="l"/>
                <a:tab pos="576000" algn="l"/>
              </a:tabLst>
              <a:defRPr b="0"/>
            </a:lvl1pPr>
            <a:lvl2pPr>
              <a:tabLst>
                <a:tab pos="180000" algn="l"/>
                <a:tab pos="360000" algn="l"/>
                <a:tab pos="576000" algn="l"/>
              </a:tabLst>
              <a:defRPr kern="600" spc="40" baseline="0"/>
            </a:lvl2pPr>
            <a:lvl3pPr>
              <a:spcBef>
                <a:spcPts val="700"/>
              </a:spcBef>
              <a:defRPr sz="1400" b="0">
                <a:solidFill>
                  <a:schemeClr val="tx1"/>
                </a:solidFill>
              </a:defRPr>
            </a:lvl3pPr>
            <a:lvl4pPr marL="360000">
              <a:spcBef>
                <a:spcPts val="700"/>
              </a:spcBef>
              <a:defRPr sz="1400" b="1" kern="600" spc="40" baseline="0">
                <a:solidFill>
                  <a:schemeClr val="tx2"/>
                </a:solidFill>
              </a:defRPr>
            </a:lvl4pPr>
            <a:lvl5pPr marL="540000">
              <a:lnSpc>
                <a:spcPts val="2300"/>
              </a:lnSpc>
              <a:spcBef>
                <a:spcPts val="700"/>
              </a:spcBef>
              <a:defRPr sz="1400" kern="600" spc="40" baseline="0"/>
            </a:lvl5pPr>
            <a:lvl7pPr>
              <a:defRPr/>
            </a:lvl7pPr>
            <a:lvl8pPr>
              <a:defRPr spc="120" baseline="0"/>
            </a:lvl8pPr>
            <a:lvl9pPr>
              <a:defRPr/>
            </a:lvl9pPr>
          </a:lstStyle>
          <a:p>
            <a:pPr lvl="0"/>
            <a:r>
              <a:rPr lang="de-DE" dirty="0" err="1"/>
              <a:t>Editing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style </a:t>
            </a:r>
            <a:r>
              <a:rPr lang="de-DE" dirty="0" err="1"/>
              <a:t>sheet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master</a:t>
            </a:r>
            <a:endParaRPr lang="de-DE" dirty="0"/>
          </a:p>
          <a:p>
            <a:pPr lvl="1"/>
            <a:r>
              <a:rPr lang="de-DE" dirty="0"/>
              <a:t>Level 2</a:t>
            </a:r>
          </a:p>
          <a:p>
            <a:pPr lvl="2"/>
            <a:r>
              <a:rPr lang="de-DE" dirty="0"/>
              <a:t>Level 3</a:t>
            </a:r>
          </a:p>
          <a:p>
            <a:pPr lvl="3"/>
            <a:r>
              <a:rPr lang="de-DE" dirty="0"/>
              <a:t>Level 4</a:t>
            </a:r>
          </a:p>
          <a:p>
            <a:pPr lvl="4"/>
            <a:r>
              <a:rPr lang="de-DE" dirty="0"/>
              <a:t>Level 5</a:t>
            </a:r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3D30B0A-E5C0-40E4-B75F-82DADA3817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pc="200" baseline="0">
                <a:solidFill>
                  <a:srgbClr val="006C66"/>
                </a:solidFill>
              </a:defRPr>
            </a:lvl1pPr>
          </a:lstStyle>
          <a:p>
            <a:r>
              <a:rPr lang="de-DE" dirty="0"/>
              <a:t>Title </a:t>
            </a:r>
            <a:r>
              <a:rPr lang="de-DE" dirty="0" err="1"/>
              <a:t>master</a:t>
            </a:r>
            <a:r>
              <a:rPr lang="de-DE" dirty="0"/>
              <a:t> – Click </a:t>
            </a:r>
            <a:r>
              <a:rPr lang="de-DE" dirty="0" err="1"/>
              <a:t>her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title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F4BB28A3-86AA-44A8-8B10-52DC0DB286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en-US"/>
              <a:t>Max Planck Institute for demographic research                                                                                                                                                                               SEASONAL MORTALITY IN EUROPE | 26/09/2024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351461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with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A60F433-92AC-4993-A4E4-F4A2A5A5475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889895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89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A60F433-92AC-4993-A4E4-F4A2A5A54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340841A0-F483-42BB-B94E-8E965D6056F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3D30B0A-E5C0-40E4-B75F-82DADA3817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pc="200" baseline="0">
                <a:solidFill>
                  <a:schemeClr val="accent1"/>
                </a:solidFill>
              </a:defRPr>
            </a:lvl1pPr>
          </a:lstStyle>
          <a:p>
            <a:r>
              <a:rPr lang="de-DE" dirty="0"/>
              <a:t>Title </a:t>
            </a:r>
            <a:r>
              <a:rPr lang="de-DE" dirty="0" err="1"/>
              <a:t>master</a:t>
            </a:r>
            <a:r>
              <a:rPr lang="de-DE" dirty="0"/>
              <a:t> – Click </a:t>
            </a:r>
            <a:r>
              <a:rPr lang="de-DE" dirty="0" err="1"/>
              <a:t>her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title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F4BB28A3-86AA-44A8-8B10-52DC0DB286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en-US"/>
              <a:t>Max Planck Institute for demographic research                                                                                                                                                                               SEASONAL MORTALITY IN EUROPE | 26/09/2024</a:t>
            </a:r>
            <a:endParaRPr lang="de-DE" dirty="0"/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547C035E-BEC4-404E-BDB6-E8321707039F}"/>
              </a:ext>
            </a:extLst>
          </p:cNvPr>
          <p:cNvSpPr/>
          <p:nvPr userDrawn="1"/>
        </p:nvSpPr>
        <p:spPr>
          <a:xfrm>
            <a:off x="947737" y="2097086"/>
            <a:ext cx="10296524" cy="3947652"/>
          </a:xfrm>
          <a:prstGeom prst="rect">
            <a:avLst/>
          </a:prstGeom>
          <a:solidFill>
            <a:srgbClr val="F1F1F1">
              <a:alpha val="60000"/>
            </a:srgbClr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300" b="1" dirty="0">
              <a:solidFill>
                <a:schemeClr val="bg1"/>
              </a:solidFill>
            </a:endParaRP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02F6500F-7547-5445-81DD-14FC7E531F2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947734" y="6044737"/>
            <a:ext cx="10296521" cy="256289"/>
          </a:xfrm>
        </p:spPr>
        <p:txBody>
          <a:bodyPr anchor="b" anchorCtr="0"/>
          <a:lstStyle>
            <a:lvl1pPr marL="0" indent="0" algn="l">
              <a:spcBef>
                <a:spcPts val="2300"/>
              </a:spcBef>
              <a:buNone/>
              <a:defRPr sz="1200" b="0" i="1" spc="0" baseline="0">
                <a:solidFill>
                  <a:schemeClr val="bg1">
                    <a:lumMod val="65000"/>
                  </a:schemeClr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Source: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1584985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lide with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>
            <a:extLst>
              <a:ext uri="{FF2B5EF4-FFF2-40B4-BE49-F238E27FC236}">
                <a16:creationId xmlns:a16="http://schemas.microsoft.com/office/drawing/2014/main" id="{547C035E-BEC4-404E-BDB6-E8321707039F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1F1F1">
              <a:alpha val="60000"/>
            </a:srgbClr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300" b="1" dirty="0">
              <a:solidFill>
                <a:schemeClr val="bg1"/>
              </a:solidFill>
            </a:endParaRPr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A60F433-92AC-4993-A4E4-F4A2A5A5475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135674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73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A60F433-92AC-4993-A4E4-F4A2A5A54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340841A0-F483-42BB-B94E-8E965D6056F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3D30B0A-E5C0-40E4-B75F-82DADA3817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pc="200" baseline="0">
                <a:solidFill>
                  <a:schemeClr val="accent1"/>
                </a:solidFill>
              </a:defRPr>
            </a:lvl1pPr>
          </a:lstStyle>
          <a:p>
            <a:r>
              <a:rPr lang="de-DE" dirty="0"/>
              <a:t>Title </a:t>
            </a:r>
            <a:r>
              <a:rPr lang="de-DE" dirty="0" err="1"/>
              <a:t>master</a:t>
            </a:r>
            <a:r>
              <a:rPr lang="de-DE" dirty="0"/>
              <a:t> – Click </a:t>
            </a:r>
            <a:r>
              <a:rPr lang="de-DE" dirty="0" err="1"/>
              <a:t>her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title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F4BB28A3-86AA-44A8-8B10-52DC0DB286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en-US"/>
              <a:t>Max Planck Institute for demographic research                                                                                                                                                                               SEASONAL MORTALITY IN EUROPE | 26/09/2024</a:t>
            </a:r>
            <a:endParaRPr lang="de-DE" dirty="0"/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02F6500F-7547-5445-81DD-14FC7E531F2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947734" y="6044737"/>
            <a:ext cx="10296521" cy="256289"/>
          </a:xfrm>
        </p:spPr>
        <p:txBody>
          <a:bodyPr anchor="b" anchorCtr="0"/>
          <a:lstStyle>
            <a:lvl1pPr marL="0" indent="0" algn="l">
              <a:spcBef>
                <a:spcPts val="2300"/>
              </a:spcBef>
              <a:buNone/>
              <a:defRPr sz="1200" b="0" i="1" spc="0" baseline="0">
                <a:solidFill>
                  <a:schemeClr val="bg1">
                    <a:lumMod val="65000"/>
                  </a:schemeClr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Source:</a:t>
            </a:r>
            <a:endParaRPr lang="en-US" dirty="0"/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7DA89605-A664-8749-B4DF-ABFF196F644A}"/>
              </a:ext>
            </a:extLst>
          </p:cNvPr>
          <p:cNvSpPr/>
          <p:nvPr userDrawn="1"/>
        </p:nvSpPr>
        <p:spPr>
          <a:xfrm>
            <a:off x="947737" y="2097086"/>
            <a:ext cx="10296524" cy="3947652"/>
          </a:xfrm>
          <a:prstGeom prst="rect">
            <a:avLst/>
          </a:prstGeom>
          <a:solidFill>
            <a:schemeClr val="bg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3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571154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lide with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A60F433-92AC-4993-A4E4-F4A2A5A5475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636286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626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A60F433-92AC-4993-A4E4-F4A2A5A54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340841A0-F483-42BB-B94E-8E965D6056F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3D30B0A-E5C0-40E4-B75F-82DADA3817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pc="200" baseline="0">
                <a:solidFill>
                  <a:schemeClr val="accent1"/>
                </a:solidFill>
              </a:defRPr>
            </a:lvl1pPr>
          </a:lstStyle>
          <a:p>
            <a:r>
              <a:rPr lang="de-DE" dirty="0"/>
              <a:t>Title </a:t>
            </a:r>
            <a:r>
              <a:rPr lang="de-DE" dirty="0" err="1"/>
              <a:t>master</a:t>
            </a:r>
            <a:r>
              <a:rPr lang="de-DE" dirty="0"/>
              <a:t> – Click </a:t>
            </a:r>
            <a:r>
              <a:rPr lang="de-DE" dirty="0" err="1"/>
              <a:t>her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title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F4BB28A3-86AA-44A8-8B10-52DC0DB286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en-US"/>
              <a:t>Max Planck Institute for demographic research                                                                                                                                                                               SEASONAL MORTALITY IN EUROPE | 26/09/2024</a:t>
            </a:r>
            <a:endParaRPr lang="de-DE" dirty="0"/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547C035E-BEC4-404E-BDB6-E8321707039F}"/>
              </a:ext>
            </a:extLst>
          </p:cNvPr>
          <p:cNvSpPr/>
          <p:nvPr userDrawn="1"/>
        </p:nvSpPr>
        <p:spPr>
          <a:xfrm>
            <a:off x="947737" y="2097086"/>
            <a:ext cx="10296524" cy="3947652"/>
          </a:xfrm>
          <a:prstGeom prst="rect">
            <a:avLst/>
          </a:prstGeom>
          <a:solidFill>
            <a:schemeClr val="bg1">
              <a:alpha val="0"/>
            </a:schemeClr>
          </a:solidFill>
          <a:ln w="31750" cmpd="sng">
            <a:solidFill>
              <a:srgbClr val="F1F1F1"/>
            </a:solidFill>
            <a:prstDash val="soli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300" b="1" dirty="0">
              <a:solidFill>
                <a:schemeClr val="bg1"/>
              </a:solidFill>
            </a:endParaRP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02F6500F-7547-5445-81DD-14FC7E531F2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947734" y="6044737"/>
            <a:ext cx="10296521" cy="256289"/>
          </a:xfrm>
        </p:spPr>
        <p:txBody>
          <a:bodyPr anchor="b" anchorCtr="0"/>
          <a:lstStyle>
            <a:lvl1pPr marL="0" indent="0" algn="l">
              <a:spcBef>
                <a:spcPts val="2300"/>
              </a:spcBef>
              <a:buNone/>
              <a:defRPr sz="1200" b="0" i="1" spc="0" baseline="0">
                <a:solidFill>
                  <a:schemeClr val="bg1">
                    <a:lumMod val="65000"/>
                  </a:schemeClr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Source: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9891366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Slide with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A60F433-92AC-4993-A4E4-F4A2A5A5475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724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A60F433-92AC-4993-A4E4-F4A2A5A54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340841A0-F483-42BB-B94E-8E965D6056F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3D30B0A-E5C0-40E4-B75F-82DADA3817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47739" y="813262"/>
            <a:ext cx="3471861" cy="4683298"/>
          </a:xfrm>
        </p:spPr>
        <p:txBody>
          <a:bodyPr/>
          <a:lstStyle>
            <a:lvl1pPr>
              <a:defRPr spc="200" baseline="0">
                <a:solidFill>
                  <a:schemeClr val="accent1"/>
                </a:solidFill>
              </a:defRPr>
            </a:lvl1pPr>
          </a:lstStyle>
          <a:p>
            <a:r>
              <a:rPr lang="de-DE" dirty="0"/>
              <a:t>Title </a:t>
            </a:r>
            <a:r>
              <a:rPr lang="de-DE" dirty="0" err="1"/>
              <a:t>master</a:t>
            </a:r>
            <a:r>
              <a:rPr lang="de-DE" dirty="0"/>
              <a:t> – Click </a:t>
            </a:r>
            <a:r>
              <a:rPr lang="de-DE" dirty="0" err="1"/>
              <a:t>here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title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F4BB28A3-86AA-44A8-8B10-52DC0DB286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en-US"/>
              <a:t>Max Planck Institute for demographic research                                                                                                                                                                               SEASONAL MORTALITY IN EUROPE | 26/09/2024</a:t>
            </a:r>
            <a:endParaRPr lang="de-DE" dirty="0"/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02F6500F-7547-5445-81DD-14FC7E531F2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805674" y="6044737"/>
            <a:ext cx="6438581" cy="256289"/>
          </a:xfrm>
        </p:spPr>
        <p:txBody>
          <a:bodyPr anchor="b" anchorCtr="0"/>
          <a:lstStyle>
            <a:lvl1pPr marL="0" indent="0" algn="l">
              <a:spcBef>
                <a:spcPts val="2300"/>
              </a:spcBef>
              <a:buNone/>
              <a:defRPr sz="1200" b="0" i="1" spc="0" baseline="0">
                <a:solidFill>
                  <a:schemeClr val="bg1">
                    <a:lumMod val="65000"/>
                  </a:schemeClr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Source</a:t>
            </a:r>
            <a:endParaRPr lang="en-US" dirty="0"/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06D92C0F-1C48-8E42-B536-AB31F51A8C6B}"/>
              </a:ext>
            </a:extLst>
          </p:cNvPr>
          <p:cNvSpPr/>
          <p:nvPr userDrawn="1"/>
        </p:nvSpPr>
        <p:spPr>
          <a:xfrm>
            <a:off x="4805673" y="813262"/>
            <a:ext cx="6438587" cy="5231476"/>
          </a:xfrm>
          <a:prstGeom prst="rect">
            <a:avLst/>
          </a:prstGeom>
          <a:solidFill>
            <a:schemeClr val="bg1">
              <a:alpha val="0"/>
            </a:schemeClr>
          </a:solidFill>
          <a:ln w="31750" cmpd="sng">
            <a:solidFill>
              <a:srgbClr val="F1F1F1"/>
            </a:solidFill>
            <a:prstDash val="soli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de-DE" sz="13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222480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2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vmlDrawing" Target="../drawings/vmlDrawing1.v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3FBFD33-14B0-4B26-8D25-D9E05002D480}"/>
              </a:ext>
            </a:extLst>
          </p:cNvPr>
          <p:cNvGraphicFramePr>
            <a:graphicFrameLocks noChangeAspect="1"/>
          </p:cNvGraphicFramePr>
          <p:nvPr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39495321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7" name="think-cell Folie" r:id="rId19" imgW="384" imgH="385" progId="TCLayout.ActiveDocument.1">
                  <p:embed/>
                </p:oleObj>
              </mc:Choice>
              <mc:Fallback>
                <p:oleObj name="think-cell Folie" r:id="rId19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58354E6-9E0E-44B9-83E8-1963A1EC88F1}"/>
              </a:ext>
            </a:extLst>
          </p:cNvPr>
          <p:cNvSpPr/>
          <p:nvPr>
            <p:custDataLst>
              <p:tags r:id="rId1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947739" y="813262"/>
            <a:ext cx="10296524" cy="128382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Headline Arial </a:t>
            </a:r>
            <a:r>
              <a:rPr lang="de-DE" dirty="0" err="1"/>
              <a:t>MPG_green_dark</a:t>
            </a:r>
            <a:r>
              <a:rPr lang="de-DE" dirty="0"/>
              <a:t>, 23 </a:t>
            </a:r>
            <a:r>
              <a:rPr lang="de-DE" dirty="0" err="1"/>
              <a:t>pt</a:t>
            </a:r>
            <a:r>
              <a:rPr lang="de-DE" dirty="0"/>
              <a:t>, ZAB 26 </a:t>
            </a:r>
            <a:r>
              <a:rPr lang="de-DE" dirty="0" err="1"/>
              <a:t>pt</a:t>
            </a:r>
            <a:r>
              <a:rPr lang="de-DE" dirty="0"/>
              <a:t>,  </a:t>
            </a:r>
            <a:r>
              <a:rPr lang="de-DE" dirty="0" err="1"/>
              <a:t>spacing</a:t>
            </a:r>
            <a:r>
              <a:rPr lang="de-DE" dirty="0"/>
              <a:t> 1,4 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47739" y="2097087"/>
            <a:ext cx="10296524" cy="431958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r>
              <a:rPr lang="de-DE" dirty="0"/>
              <a:t>Level 1: Headlines</a:t>
            </a:r>
          </a:p>
          <a:p>
            <a:pPr lvl="1"/>
            <a:r>
              <a:rPr lang="de-DE" dirty="0"/>
              <a:t>Level 2: Running </a:t>
            </a:r>
            <a:r>
              <a:rPr lang="de-DE" dirty="0" err="1"/>
              <a:t>text</a:t>
            </a:r>
            <a:endParaRPr lang="de-DE" dirty="0"/>
          </a:p>
          <a:p>
            <a:pPr lvl="3"/>
            <a:r>
              <a:rPr lang="de-DE" dirty="0"/>
              <a:t>Level 3: Bullet </a:t>
            </a:r>
            <a:r>
              <a:rPr lang="de-DE" dirty="0" err="1"/>
              <a:t>points</a:t>
            </a:r>
            <a:endParaRPr lang="de-DE" dirty="0"/>
          </a:p>
          <a:p>
            <a:pPr lvl="2"/>
            <a:r>
              <a:rPr lang="de-DE" dirty="0"/>
              <a:t>Level 4: </a:t>
            </a:r>
            <a:r>
              <a:rPr lang="de-DE" dirty="0" err="1"/>
              <a:t>Highlighted</a:t>
            </a:r>
            <a:r>
              <a:rPr lang="de-DE" dirty="0"/>
              <a:t> </a:t>
            </a:r>
            <a:r>
              <a:rPr lang="de-DE" dirty="0" err="1"/>
              <a:t>bullet</a:t>
            </a:r>
            <a:r>
              <a:rPr lang="de-DE" dirty="0"/>
              <a:t> </a:t>
            </a:r>
            <a:r>
              <a:rPr lang="de-DE" dirty="0" err="1"/>
              <a:t>points</a:t>
            </a:r>
            <a:r>
              <a:rPr lang="de-DE" dirty="0"/>
              <a:t> </a:t>
            </a:r>
          </a:p>
          <a:p>
            <a:pPr lvl="4"/>
            <a:r>
              <a:rPr lang="de-DE" dirty="0"/>
              <a:t>Level 5: </a:t>
            </a:r>
            <a:r>
              <a:rPr lang="de-DE" dirty="0" err="1"/>
              <a:t>bullet</a:t>
            </a:r>
            <a:r>
              <a:rPr lang="de-DE" dirty="0"/>
              <a:t> </a:t>
            </a:r>
            <a:r>
              <a:rPr lang="de-DE" dirty="0" err="1"/>
              <a:t>points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indent</a:t>
            </a:r>
            <a:endParaRPr lang="de-DE" dirty="0"/>
          </a:p>
          <a:p>
            <a:pPr lvl="5"/>
            <a:r>
              <a:rPr lang="de-DE" dirty="0"/>
              <a:t>Level 6: </a:t>
            </a:r>
            <a:r>
              <a:rPr lang="de-DE" dirty="0" err="1"/>
              <a:t>bullet</a:t>
            </a:r>
            <a:r>
              <a:rPr lang="de-DE" dirty="0"/>
              <a:t> </a:t>
            </a:r>
            <a:r>
              <a:rPr lang="de-DE" dirty="0" err="1"/>
              <a:t>point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more</a:t>
            </a:r>
            <a:r>
              <a:rPr lang="de-DE" dirty="0"/>
              <a:t> </a:t>
            </a:r>
            <a:r>
              <a:rPr lang="de-DE" dirty="0" err="1"/>
              <a:t>indent</a:t>
            </a:r>
            <a:endParaRPr lang="de-DE" dirty="0"/>
          </a:p>
          <a:p>
            <a:pPr lvl="6"/>
            <a:r>
              <a:rPr lang="de-DE" dirty="0"/>
              <a:t>Level 7: Additional </a:t>
            </a:r>
            <a:r>
              <a:rPr lang="de-DE" dirty="0" err="1"/>
              <a:t>information</a:t>
            </a:r>
            <a:endParaRPr lang="de-DE" dirty="0"/>
          </a:p>
          <a:p>
            <a:pPr lvl="7"/>
            <a:r>
              <a:rPr lang="de-DE" dirty="0"/>
              <a:t>Level 8: Caption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47739" y="6453188"/>
            <a:ext cx="10296524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algn="r">
              <a:defRPr sz="600" kern="600" cap="all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en-US"/>
              <a:t>Max Planck Institute for demographic research                                                                                                                                                                               SEASONAL MORTALITY IN EUROPE | 26/09/2024</a:t>
            </a:r>
            <a:endParaRPr lang="de-DE" dirty="0"/>
          </a:p>
        </p:txBody>
      </p: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46273" y="159154"/>
            <a:ext cx="1218350" cy="5611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04659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701" r:id="rId2"/>
    <p:sldLayoutId id="2147483697" r:id="rId3"/>
    <p:sldLayoutId id="2147483702" r:id="rId4"/>
    <p:sldLayoutId id="2147483662" r:id="rId5"/>
    <p:sldLayoutId id="2147483703" r:id="rId6"/>
    <p:sldLayoutId id="2147483705" r:id="rId7"/>
    <p:sldLayoutId id="2147483704" r:id="rId8"/>
    <p:sldLayoutId id="2147483708" r:id="rId9"/>
    <p:sldLayoutId id="2147483664" r:id="rId10"/>
    <p:sldLayoutId id="2147483668" r:id="rId11"/>
    <p:sldLayoutId id="2147483698" r:id="rId12"/>
    <p:sldLayoutId id="2147483673" r:id="rId13"/>
    <p:sldLayoutId id="2147483663" r:id="rId14"/>
  </p:sldLayoutIdLst>
  <p:hf sldNum="0" hdr="0" dt="0"/>
  <p:txStyles>
    <p:titleStyle>
      <a:lvl1pPr algn="l" defTabSz="914400" rtl="0" eaLnBrk="1" latinLnBrk="0" hangingPunct="1">
        <a:lnSpc>
          <a:spcPts val="2600"/>
        </a:lnSpc>
        <a:spcBef>
          <a:spcPct val="0"/>
        </a:spcBef>
        <a:spcAft>
          <a:spcPts val="1800"/>
        </a:spcAft>
        <a:buNone/>
        <a:defRPr sz="2300" b="1" kern="600" cap="all" spc="200" baseline="0">
          <a:solidFill>
            <a:srgbClr val="006C66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914400" rtl="0" eaLnBrk="1" fontAlgn="auto" latinLnBrk="0" hangingPunct="1">
        <a:lnSpc>
          <a:spcPts val="23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600" b="1" i="0" kern="600" spc="40" baseline="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ts val="2300"/>
        </a:lnSpc>
        <a:spcBef>
          <a:spcPts val="1150"/>
        </a:spcBef>
        <a:spcAft>
          <a:spcPts val="0"/>
        </a:spcAft>
        <a:buFont typeface="Arial" panose="020B0604020202020204" pitchFamily="34" charset="0"/>
        <a:buNone/>
        <a:defRPr sz="1600" kern="600" spc="40" baseline="0">
          <a:solidFill>
            <a:schemeClr val="tx1"/>
          </a:solidFill>
          <a:latin typeface="+mn-lt"/>
          <a:ea typeface="+mn-ea"/>
          <a:cs typeface="+mn-cs"/>
        </a:defRPr>
      </a:lvl2pPr>
      <a:lvl3pPr marL="179388" indent="-179388" algn="l" defTabSz="914400" rtl="0" eaLnBrk="1" latinLnBrk="0" hangingPunct="1">
        <a:lnSpc>
          <a:spcPts val="2300"/>
        </a:lnSpc>
        <a:spcBef>
          <a:spcPts val="1150"/>
        </a:spcBef>
        <a:buFont typeface="Arial" panose="020B0604020202020204" pitchFamily="34" charset="0"/>
        <a:buChar char="•"/>
        <a:defRPr sz="1600" b="1" kern="400" spc="40" baseline="0">
          <a:solidFill>
            <a:schemeClr val="tx1"/>
          </a:solidFill>
          <a:latin typeface="+mn-lt"/>
          <a:ea typeface="+mn-ea"/>
          <a:cs typeface="+mn-cs"/>
        </a:defRPr>
      </a:lvl3pPr>
      <a:lvl4pPr marL="179388" indent="-179388" algn="l" defTabSz="914400" rtl="0" eaLnBrk="1" latinLnBrk="0" hangingPunct="1">
        <a:lnSpc>
          <a:spcPts val="2300"/>
        </a:lnSpc>
        <a:spcBef>
          <a:spcPts val="1150"/>
        </a:spcBef>
        <a:buFont typeface="Arial" panose="020B0604020202020204" pitchFamily="34" charset="0"/>
        <a:buChar char="•"/>
        <a:defRPr sz="1600" kern="600" spc="40" baseline="0">
          <a:solidFill>
            <a:schemeClr val="tx1"/>
          </a:solidFill>
          <a:latin typeface="+mn-lt"/>
          <a:ea typeface="+mn-ea"/>
          <a:cs typeface="+mn-cs"/>
        </a:defRPr>
      </a:lvl4pPr>
      <a:lvl5pPr marL="357188" indent="-179388" algn="l" defTabSz="914400" rtl="0" eaLnBrk="1" latinLnBrk="0" hangingPunct="1">
        <a:lnSpc>
          <a:spcPts val="2300"/>
        </a:lnSpc>
        <a:spcBef>
          <a:spcPts val="525"/>
        </a:spcBef>
        <a:buFont typeface="Arial" panose="020B0604020202020204" pitchFamily="34" charset="0"/>
        <a:buChar char="•"/>
        <a:defRPr sz="1600" kern="600" spc="40" baseline="0">
          <a:solidFill>
            <a:schemeClr val="tx1"/>
          </a:solidFill>
          <a:latin typeface="+mn-lt"/>
          <a:ea typeface="+mn-ea"/>
          <a:cs typeface="+mn-cs"/>
        </a:defRPr>
      </a:lvl5pPr>
      <a:lvl6pPr marL="645750" indent="-285750" algn="l" defTabSz="914400" rtl="0" eaLnBrk="1" latinLnBrk="0" hangingPunct="1">
        <a:lnSpc>
          <a:spcPts val="2300"/>
        </a:lnSpc>
        <a:spcBef>
          <a:spcPts val="0"/>
        </a:spcBef>
        <a:spcAft>
          <a:spcPts val="0"/>
        </a:spcAft>
        <a:buClr>
          <a:schemeClr val="tx1"/>
        </a:buClr>
        <a:buSzPct val="110000"/>
        <a:buFont typeface="Symbol" panose="05050102010706020507" pitchFamily="18" charset="2"/>
        <a:buChar char=""/>
        <a:defRPr sz="1600" b="0" i="0" kern="600" spc="40" baseline="0">
          <a:solidFill>
            <a:schemeClr val="tx1"/>
          </a:solidFill>
          <a:latin typeface="+mn-lt"/>
          <a:ea typeface="+mn-ea"/>
          <a:cs typeface="+mn-cs"/>
        </a:defRPr>
      </a:lvl6pPr>
      <a:lvl7pPr marL="0" indent="215900" algn="l" defTabSz="914400" rtl="0" eaLnBrk="1" latinLnBrk="0" hangingPunct="1">
        <a:lnSpc>
          <a:spcPts val="2300"/>
        </a:lnSpc>
        <a:spcBef>
          <a:spcPts val="525"/>
        </a:spcBef>
        <a:spcAft>
          <a:spcPts val="0"/>
        </a:spcAft>
        <a:buClr>
          <a:schemeClr val="tx2"/>
        </a:buClr>
        <a:buFont typeface="Wingdings 3" panose="05040102010807070707" pitchFamily="18" charset="2"/>
        <a:buChar char=""/>
        <a:defRPr sz="1300" b="0" i="1" kern="600" spc="40" baseline="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ts val="1100"/>
        </a:lnSpc>
        <a:spcBef>
          <a:spcPts val="525"/>
        </a:spcBef>
        <a:spcAft>
          <a:spcPts val="0"/>
        </a:spcAft>
        <a:buSzPct val="110000"/>
        <a:buFont typeface=".SF NS Symbols Regular"/>
        <a:buNone/>
        <a:defRPr sz="800" b="0" i="1" kern="600" spc="120" baseline="0">
          <a:solidFill>
            <a:schemeClr val="tx1">
              <a:lumMod val="50000"/>
              <a:lumOff val="50000"/>
            </a:schemeClr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ts val="1100"/>
        </a:lnSpc>
        <a:spcBef>
          <a:spcPts val="525"/>
        </a:spcBef>
        <a:buFont typeface="Arial" panose="020B0604020202020204" pitchFamily="34" charset="0"/>
        <a:buNone/>
        <a:defRPr sz="800" b="0" i="1" kern="600" spc="120" baseline="0">
          <a:solidFill>
            <a:schemeClr val="tx1">
              <a:lumMod val="50000"/>
              <a:lumOff val="50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597">
          <p15:clr>
            <a:srgbClr val="F26B43"/>
          </p15:clr>
        </p15:guide>
        <p15:guide id="2" orient="horz" pos="1321">
          <p15:clr>
            <a:srgbClr val="F26B43"/>
          </p15:clr>
        </p15:guide>
        <p15:guide id="3" pos="7083">
          <p15:clr>
            <a:srgbClr val="F26B43"/>
          </p15:clr>
        </p15:guide>
        <p15:guide id="4" orient="horz" pos="4042">
          <p15:clr>
            <a:srgbClr val="F26B43"/>
          </p15:clr>
        </p15:guide>
        <p15:guide id="5" pos="483">
          <p15:clr>
            <a:srgbClr val="F26B43"/>
          </p15:clr>
        </p15:guide>
        <p15:guide id="6" orient="horz" pos="436">
          <p15:clr>
            <a:srgbClr val="F26B43"/>
          </p15:clr>
        </p15:guide>
        <p15:guide id="7" orient="horz" pos="4065">
          <p15:clr>
            <a:srgbClr val="F26B43"/>
          </p15:clr>
        </p15:guide>
        <p15:guide id="8" orient="horz" pos="4178">
          <p15:clr>
            <a:srgbClr val="F26B43"/>
          </p15:clr>
        </p15:guide>
        <p15:guide id="9" pos="166">
          <p15:clr>
            <a:srgbClr val="F26B43"/>
          </p15:clr>
        </p15:guide>
        <p15:guide id="10" pos="751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svg"/><Relationship Id="rId3" Type="http://schemas.openxmlformats.org/officeDocument/2006/relationships/image" Target="../media/image14.png"/><Relationship Id="rId7" Type="http://schemas.openxmlformats.org/officeDocument/2006/relationships/image" Target="../media/image16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3.xml"/><Relationship Id="rId6" Type="http://schemas.microsoft.com/office/2007/relationships/hdphoto" Target="../media/hdphoto2.wdp"/><Relationship Id="rId5" Type="http://schemas.openxmlformats.org/officeDocument/2006/relationships/image" Target="../media/image15.png"/><Relationship Id="rId4" Type="http://schemas.openxmlformats.org/officeDocument/2006/relationships/hyperlink" Target="mailto:marinetti@demogr.mpg.de" TargetMode="Externa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5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5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8663833-0145-8247-9AF6-1ECE2D266BA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705511" y="2517168"/>
            <a:ext cx="8839704" cy="1226831"/>
          </a:xfrm>
        </p:spPr>
        <p:txBody>
          <a:bodyPr/>
          <a:lstStyle/>
          <a:p>
            <a:r>
              <a:rPr lang="en-US" dirty="0"/>
              <a:t>Seasonality in mortality and its impact on life expectancy levels and trends across Europe</a:t>
            </a:r>
            <a:endParaRPr lang="en-GB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AE5A2311-CEFE-5E45-86DE-BC684D88557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646786" y="3618165"/>
            <a:ext cx="8495503" cy="1886238"/>
          </a:xfrm>
        </p:spPr>
        <p:txBody>
          <a:bodyPr/>
          <a:lstStyle/>
          <a:p>
            <a:pPr>
              <a:lnSpc>
                <a:spcPts val="1600"/>
              </a:lnSpc>
              <a:spcBef>
                <a:spcPts val="600"/>
              </a:spcBef>
            </a:pPr>
            <a:r>
              <a:rPr lang="it-IT" sz="1400" b="1" dirty="0">
                <a:latin typeface="Malgun Gothic" panose="020B0503020000020004" pitchFamily="34" charset="-127"/>
                <a:ea typeface="Malgun Gothic" panose="020B0503020000020004" pitchFamily="34" charset="-127"/>
              </a:rPr>
              <a:t>Isabella Marinetti</a:t>
            </a:r>
            <a:r>
              <a:rPr lang="it-IT" sz="1400" b="1" baseline="30000" dirty="0">
                <a:latin typeface="Malgun Gothic" panose="020B0503020000020004" pitchFamily="34" charset="-127"/>
                <a:ea typeface="Malgun Gothic" panose="020B0503020000020004" pitchFamily="34" charset="-127"/>
              </a:rPr>
              <a:t>1,2</a:t>
            </a:r>
            <a:r>
              <a:rPr lang="it-IT" sz="1400" b="1" dirty="0">
                <a:latin typeface="Malgun Gothic" panose="020B0503020000020004" pitchFamily="34" charset="-127"/>
                <a:ea typeface="Malgun Gothic" panose="020B0503020000020004" pitchFamily="34" charset="-127"/>
              </a:rPr>
              <a:t>, </a:t>
            </a:r>
          </a:p>
          <a:p>
            <a:pPr>
              <a:lnSpc>
                <a:spcPts val="1600"/>
              </a:lnSpc>
              <a:spcBef>
                <a:spcPts val="600"/>
              </a:spcBef>
            </a:pPr>
            <a:r>
              <a:rPr lang="it-IT" sz="1400" dirty="0">
                <a:latin typeface="Malgun Gothic" panose="020B0503020000020004" pitchFamily="34" charset="-127"/>
                <a:ea typeface="Malgun Gothic" panose="020B0503020000020004" pitchFamily="34" charset="-127"/>
              </a:rPr>
              <a:t>Dmitri Jdanov</a:t>
            </a:r>
            <a:r>
              <a:rPr lang="it-IT" sz="1400" baseline="30000" dirty="0">
                <a:latin typeface="Malgun Gothic" panose="020B0503020000020004" pitchFamily="34" charset="-127"/>
                <a:ea typeface="Malgun Gothic" panose="020B0503020000020004" pitchFamily="34" charset="-127"/>
              </a:rPr>
              <a:t>1</a:t>
            </a:r>
            <a:r>
              <a:rPr lang="it-IT" sz="1400" dirty="0">
                <a:latin typeface="Malgun Gothic" panose="020B0503020000020004" pitchFamily="34" charset="-127"/>
                <a:ea typeface="Malgun Gothic" panose="020B0503020000020004" pitchFamily="34" charset="-127"/>
              </a:rPr>
              <a:t>, Domantas Jasilionis</a:t>
            </a:r>
            <a:r>
              <a:rPr lang="it-IT" sz="1400" baseline="30000" dirty="0">
                <a:latin typeface="Malgun Gothic" panose="020B0503020000020004" pitchFamily="34" charset="-127"/>
                <a:ea typeface="Malgun Gothic" panose="020B0503020000020004" pitchFamily="34" charset="-127"/>
              </a:rPr>
              <a:t>1</a:t>
            </a:r>
            <a:r>
              <a:rPr lang="it-IT" sz="1400" dirty="0">
                <a:latin typeface="Malgun Gothic" panose="020B0503020000020004" pitchFamily="34" charset="-127"/>
                <a:ea typeface="Malgun Gothic" panose="020B0503020000020004" pitchFamily="34" charset="-127"/>
              </a:rPr>
              <a:t>, </a:t>
            </a:r>
            <a:r>
              <a:rPr lang="it-IT" sz="1400" dirty="0" err="1">
                <a:latin typeface="Malgun Gothic" panose="020B0503020000020004" pitchFamily="34" charset="-127"/>
                <a:ea typeface="Malgun Gothic" panose="020B0503020000020004" pitchFamily="34" charset="-127"/>
              </a:rPr>
              <a:t>Marília</a:t>
            </a:r>
            <a:r>
              <a:rPr lang="it-IT" sz="1400" dirty="0">
                <a:latin typeface="Malgun Gothic" panose="020B0503020000020004" pitchFamily="34" charset="-127"/>
                <a:ea typeface="Malgun Gothic" panose="020B0503020000020004" pitchFamily="34" charset="-127"/>
              </a:rPr>
              <a:t> Nepomuceno</a:t>
            </a:r>
            <a:r>
              <a:rPr lang="it-IT" sz="1400" baseline="30000" dirty="0">
                <a:latin typeface="Malgun Gothic" panose="020B0503020000020004" pitchFamily="34" charset="-127"/>
                <a:ea typeface="Malgun Gothic" panose="020B0503020000020004" pitchFamily="34" charset="-127"/>
              </a:rPr>
              <a:t>1</a:t>
            </a:r>
            <a:r>
              <a:rPr lang="it-IT" sz="1400" dirty="0">
                <a:latin typeface="Malgun Gothic" panose="020B0503020000020004" pitchFamily="34" charset="-127"/>
                <a:ea typeface="Malgun Gothic" panose="020B0503020000020004" pitchFamily="34" charset="-127"/>
              </a:rPr>
              <a:t>, Fanny Janssen</a:t>
            </a:r>
            <a:r>
              <a:rPr lang="it-IT" sz="1400" baseline="30000" dirty="0">
                <a:latin typeface="Malgun Gothic" panose="020B0503020000020004" pitchFamily="34" charset="-127"/>
                <a:ea typeface="Malgun Gothic" panose="020B0503020000020004" pitchFamily="34" charset="-127"/>
              </a:rPr>
              <a:t>2,3</a:t>
            </a:r>
          </a:p>
          <a:p>
            <a:pPr>
              <a:lnSpc>
                <a:spcPts val="1600"/>
              </a:lnSpc>
              <a:spcBef>
                <a:spcPts val="600"/>
              </a:spcBef>
            </a:pPr>
            <a:endParaRPr lang="en-GB" sz="1400" dirty="0">
              <a:latin typeface="Malgun Gothic" panose="020B0503020000020004" pitchFamily="34" charset="-127"/>
              <a:ea typeface="Malgun Gothic" panose="020B0503020000020004" pitchFamily="34" charset="-127"/>
            </a:endParaRPr>
          </a:p>
          <a:p>
            <a:pPr>
              <a:lnSpc>
                <a:spcPts val="1000"/>
              </a:lnSpc>
              <a:spcBef>
                <a:spcPts val="600"/>
              </a:spcBef>
            </a:pPr>
            <a:r>
              <a:rPr lang="en-US" sz="800" i="1" baseline="30000" dirty="0">
                <a:latin typeface="Malgun Gothic" panose="020B0503020000020004" pitchFamily="34" charset="-127"/>
                <a:ea typeface="Malgun Gothic" panose="020B0503020000020004" pitchFamily="34" charset="-127"/>
              </a:rPr>
              <a:t>1</a:t>
            </a:r>
            <a:r>
              <a:rPr lang="en-US" sz="800" i="1" dirty="0">
                <a:latin typeface="Malgun Gothic" panose="020B0503020000020004" pitchFamily="34" charset="-127"/>
                <a:ea typeface="Malgun Gothic" panose="020B0503020000020004" pitchFamily="34" charset="-127"/>
              </a:rPr>
              <a:t>Max Planck Institute for Demographic Research, Rostock, Germany</a:t>
            </a:r>
            <a:endParaRPr lang="en-GB" sz="800" i="1" dirty="0">
              <a:latin typeface="Malgun Gothic" panose="020B0503020000020004" pitchFamily="34" charset="-127"/>
              <a:ea typeface="Malgun Gothic" panose="020B0503020000020004" pitchFamily="34" charset="-127"/>
            </a:endParaRPr>
          </a:p>
          <a:p>
            <a:pPr>
              <a:lnSpc>
                <a:spcPts val="1000"/>
              </a:lnSpc>
              <a:spcBef>
                <a:spcPts val="600"/>
              </a:spcBef>
            </a:pPr>
            <a:r>
              <a:rPr lang="en-US" sz="800" i="1" baseline="30000" dirty="0">
                <a:latin typeface="Malgun Gothic" panose="020B0503020000020004" pitchFamily="34" charset="-127"/>
                <a:ea typeface="Malgun Gothic" panose="020B0503020000020004" pitchFamily="34" charset="-127"/>
              </a:rPr>
              <a:t>2</a:t>
            </a:r>
            <a:r>
              <a:rPr lang="en-US" sz="800" i="1" dirty="0">
                <a:latin typeface="Malgun Gothic" panose="020B0503020000020004" pitchFamily="34" charset="-127"/>
                <a:ea typeface="Malgun Gothic" panose="020B0503020000020004" pitchFamily="34" charset="-127"/>
              </a:rPr>
              <a:t>Population Research Centre, Faculty of Spatial Sciences, University of Groningen, The Netherlands</a:t>
            </a:r>
            <a:endParaRPr lang="en-GB" sz="800" i="1" dirty="0">
              <a:latin typeface="Malgun Gothic" panose="020B0503020000020004" pitchFamily="34" charset="-127"/>
              <a:ea typeface="Malgun Gothic" panose="020B0503020000020004" pitchFamily="34" charset="-127"/>
            </a:endParaRPr>
          </a:p>
          <a:p>
            <a:pPr>
              <a:lnSpc>
                <a:spcPts val="1000"/>
              </a:lnSpc>
              <a:spcBef>
                <a:spcPts val="600"/>
              </a:spcBef>
            </a:pPr>
            <a:r>
              <a:rPr lang="en-US" sz="800" i="1" baseline="30000" dirty="0">
                <a:latin typeface="Malgun Gothic" panose="020B0503020000020004" pitchFamily="34" charset="-127"/>
                <a:ea typeface="Malgun Gothic" panose="020B0503020000020004" pitchFamily="34" charset="-127"/>
              </a:rPr>
              <a:t>3</a:t>
            </a:r>
            <a:r>
              <a:rPr lang="en-US" sz="800" i="1" dirty="0">
                <a:latin typeface="Malgun Gothic" panose="020B0503020000020004" pitchFamily="34" charset="-127"/>
                <a:ea typeface="Malgun Gothic" panose="020B0503020000020004" pitchFamily="34" charset="-127"/>
              </a:rPr>
              <a:t>Netherlands Interdisciplinary Demographic Institute - KNAW/University of Groningen, The Hague, The Netherlands</a:t>
            </a:r>
            <a:endParaRPr lang="en-GB" sz="800" i="1" dirty="0">
              <a:latin typeface="Malgun Gothic" panose="020B0503020000020004" pitchFamily="34" charset="-127"/>
              <a:ea typeface="Malgun Gothic" panose="020B0503020000020004" pitchFamily="34" charset="-127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ED1469E-20E3-4A3E-BAEC-A84B061A3DD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en-US"/>
              <a:t>Max Planck Institute for demographic research                                                                                                                                                                               SEASONAL MORTALITY IN EUROPE | 26/09/2024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2257754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EDBB4E5-8F97-4A1D-B21C-EB4629D41B0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en-US"/>
              <a:t>Max Planck Institute for demographic research                                                                                                                                                                               SEASONAL MORTALITY IN EUROPE | 26/09/2024</a:t>
            </a:r>
            <a:endParaRPr lang="de-DE" dirty="0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C2D93ED4-870D-415E-B030-5843672B4224}"/>
              </a:ext>
            </a:extLst>
          </p:cNvPr>
          <p:cNvSpPr txBox="1"/>
          <p:nvPr/>
        </p:nvSpPr>
        <p:spPr>
          <a:xfrm>
            <a:off x="4285921" y="4412497"/>
            <a:ext cx="2220655" cy="1291978"/>
          </a:xfrm>
          <a:prstGeom prst="foldedCorner">
            <a:avLst>
              <a:gd name="adj" fmla="val 20535"/>
            </a:avLst>
          </a:prstGeom>
          <a:ln w="19050"/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square" lIns="0" tIns="108000" rIns="0" bIns="0" rtlCol="0" anchor="t" anchorCtr="0">
            <a:spAutoFit/>
          </a:bodyPr>
          <a:lstStyle/>
          <a:p>
            <a:pPr marL="72000"/>
            <a:r>
              <a:rPr lang="en-US" sz="1200" dirty="0">
                <a:latin typeface="Malgun Gothic" panose="020B0503020000020004" pitchFamily="34" charset="-127"/>
                <a:ea typeface="Malgun Gothic" panose="020B0503020000020004" pitchFamily="34" charset="-127"/>
              </a:rPr>
              <a:t>*in the absence of seasonal excess mortality. Based on mortality schedule of 13 weeks with lowest death counts</a:t>
            </a:r>
            <a:endParaRPr lang="en-GB" sz="1200" dirty="0" err="1">
              <a:latin typeface="Malgun Gothic" panose="020B0503020000020004" pitchFamily="34" charset="-127"/>
              <a:ea typeface="Malgun Gothic" panose="020B0503020000020004" pitchFamily="34" charset="-127"/>
            </a:endParaRPr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F5352382-54BF-405A-9461-F53EF7872DF2}"/>
              </a:ext>
            </a:extLst>
          </p:cNvPr>
          <p:cNvSpPr/>
          <p:nvPr/>
        </p:nvSpPr>
        <p:spPr>
          <a:xfrm>
            <a:off x="4290658" y="2145189"/>
            <a:ext cx="1770958" cy="701726"/>
          </a:xfrm>
          <a:custGeom>
            <a:avLst/>
            <a:gdLst>
              <a:gd name="connsiteX0" fmla="*/ 0 w 3027543"/>
              <a:gd name="connsiteY0" fmla="*/ 75689 h 756885"/>
              <a:gd name="connsiteX1" fmla="*/ 75689 w 3027543"/>
              <a:gd name="connsiteY1" fmla="*/ 0 h 756885"/>
              <a:gd name="connsiteX2" fmla="*/ 2951855 w 3027543"/>
              <a:gd name="connsiteY2" fmla="*/ 0 h 756885"/>
              <a:gd name="connsiteX3" fmla="*/ 3027544 w 3027543"/>
              <a:gd name="connsiteY3" fmla="*/ 75689 h 756885"/>
              <a:gd name="connsiteX4" fmla="*/ 3027543 w 3027543"/>
              <a:gd name="connsiteY4" fmla="*/ 681197 h 756885"/>
              <a:gd name="connsiteX5" fmla="*/ 2951854 w 3027543"/>
              <a:gd name="connsiteY5" fmla="*/ 756886 h 756885"/>
              <a:gd name="connsiteX6" fmla="*/ 75689 w 3027543"/>
              <a:gd name="connsiteY6" fmla="*/ 756885 h 756885"/>
              <a:gd name="connsiteX7" fmla="*/ 0 w 3027543"/>
              <a:gd name="connsiteY7" fmla="*/ 681196 h 756885"/>
              <a:gd name="connsiteX8" fmla="*/ 0 w 3027543"/>
              <a:gd name="connsiteY8" fmla="*/ 75689 h 7568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027543" h="756885">
                <a:moveTo>
                  <a:pt x="0" y="75689"/>
                </a:moveTo>
                <a:cubicBezTo>
                  <a:pt x="0" y="33887"/>
                  <a:pt x="33887" y="0"/>
                  <a:pt x="75689" y="0"/>
                </a:cubicBezTo>
                <a:lnTo>
                  <a:pt x="2951855" y="0"/>
                </a:lnTo>
                <a:cubicBezTo>
                  <a:pt x="2993657" y="0"/>
                  <a:pt x="3027544" y="33887"/>
                  <a:pt x="3027544" y="75689"/>
                </a:cubicBezTo>
                <a:cubicBezTo>
                  <a:pt x="3027544" y="277525"/>
                  <a:pt x="3027543" y="479361"/>
                  <a:pt x="3027543" y="681197"/>
                </a:cubicBezTo>
                <a:cubicBezTo>
                  <a:pt x="3027543" y="722999"/>
                  <a:pt x="2993656" y="756886"/>
                  <a:pt x="2951854" y="756886"/>
                </a:cubicBezTo>
                <a:lnTo>
                  <a:pt x="75689" y="756885"/>
                </a:lnTo>
                <a:cubicBezTo>
                  <a:pt x="33887" y="756885"/>
                  <a:pt x="0" y="722998"/>
                  <a:pt x="0" y="681196"/>
                </a:cubicBezTo>
                <a:lnTo>
                  <a:pt x="0" y="75689"/>
                </a:lnTo>
                <a:close/>
              </a:path>
            </a:pathLst>
          </a:custGeom>
          <a:solidFill>
            <a:srgbClr val="F3F3F3">
              <a:alpha val="90000"/>
            </a:srgbClr>
          </a:solidFill>
          <a:ln>
            <a:noFill/>
          </a:ln>
        </p:spPr>
        <p:style>
          <a:lnRef idx="2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79318" tIns="79318" rIns="79318" bIns="79318" numCol="1" spcCol="1270" anchor="ctr" anchorCtr="0">
            <a:noAutofit/>
          </a:bodyPr>
          <a:lstStyle/>
          <a:p>
            <a:pPr lvl="0" algn="ctr" defTabSz="20002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2000" kern="1200" dirty="0">
                <a:solidFill>
                  <a:schemeClr val="bg1">
                    <a:lumMod val="85000"/>
                  </a:schemeClr>
                </a:solidFill>
                <a:latin typeface="Malgun Gothic" panose="020B0503020000020004" pitchFamily="34" charset="-127"/>
                <a:ea typeface="Malgun Gothic" panose="020B0503020000020004" pitchFamily="34" charset="-127"/>
              </a:rPr>
              <a:t>Annual and seasonal </a:t>
            </a:r>
            <a:r>
              <a:rPr lang="en-US" sz="2000" dirty="0">
                <a:solidFill>
                  <a:schemeClr val="bg1">
                    <a:lumMod val="85000"/>
                  </a:schemeClr>
                </a:solidFill>
              </a:rPr>
              <a:t>e</a:t>
            </a:r>
            <a:r>
              <a:rPr lang="en-US" sz="2000" baseline="-25000" dirty="0">
                <a:solidFill>
                  <a:schemeClr val="bg1">
                    <a:lumMod val="85000"/>
                  </a:schemeClr>
                </a:solidFill>
              </a:rPr>
              <a:t>0</a:t>
            </a:r>
            <a:endParaRPr lang="en-GB" sz="2000" kern="1200" dirty="0">
              <a:solidFill>
                <a:schemeClr val="bg1">
                  <a:lumMod val="85000"/>
                </a:schemeClr>
              </a:solidFill>
              <a:latin typeface="Malgun Gothic" panose="020B0503020000020004" pitchFamily="34" charset="-127"/>
              <a:ea typeface="Malgun Gothic" panose="020B0503020000020004" pitchFamily="34" charset="-127"/>
            </a:endParaRPr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5C777CE0-B945-4F56-B053-E6E67EAA7D43}"/>
              </a:ext>
            </a:extLst>
          </p:cNvPr>
          <p:cNvSpPr/>
          <p:nvPr/>
        </p:nvSpPr>
        <p:spPr>
          <a:xfrm>
            <a:off x="947739" y="2669162"/>
            <a:ext cx="2502471" cy="756885"/>
          </a:xfrm>
          <a:custGeom>
            <a:avLst/>
            <a:gdLst>
              <a:gd name="connsiteX0" fmla="*/ 0 w 3027543"/>
              <a:gd name="connsiteY0" fmla="*/ 75689 h 756885"/>
              <a:gd name="connsiteX1" fmla="*/ 75689 w 3027543"/>
              <a:gd name="connsiteY1" fmla="*/ 0 h 756885"/>
              <a:gd name="connsiteX2" fmla="*/ 2951855 w 3027543"/>
              <a:gd name="connsiteY2" fmla="*/ 0 h 756885"/>
              <a:gd name="connsiteX3" fmla="*/ 3027544 w 3027543"/>
              <a:gd name="connsiteY3" fmla="*/ 75689 h 756885"/>
              <a:gd name="connsiteX4" fmla="*/ 3027543 w 3027543"/>
              <a:gd name="connsiteY4" fmla="*/ 681197 h 756885"/>
              <a:gd name="connsiteX5" fmla="*/ 2951854 w 3027543"/>
              <a:gd name="connsiteY5" fmla="*/ 756886 h 756885"/>
              <a:gd name="connsiteX6" fmla="*/ 75689 w 3027543"/>
              <a:gd name="connsiteY6" fmla="*/ 756885 h 756885"/>
              <a:gd name="connsiteX7" fmla="*/ 0 w 3027543"/>
              <a:gd name="connsiteY7" fmla="*/ 681196 h 756885"/>
              <a:gd name="connsiteX8" fmla="*/ 0 w 3027543"/>
              <a:gd name="connsiteY8" fmla="*/ 75689 h 7568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027543" h="756885">
                <a:moveTo>
                  <a:pt x="0" y="75689"/>
                </a:moveTo>
                <a:cubicBezTo>
                  <a:pt x="0" y="33887"/>
                  <a:pt x="33887" y="0"/>
                  <a:pt x="75689" y="0"/>
                </a:cubicBezTo>
                <a:lnTo>
                  <a:pt x="2951855" y="0"/>
                </a:lnTo>
                <a:cubicBezTo>
                  <a:pt x="2993657" y="0"/>
                  <a:pt x="3027544" y="33887"/>
                  <a:pt x="3027544" y="75689"/>
                </a:cubicBezTo>
                <a:cubicBezTo>
                  <a:pt x="3027544" y="277525"/>
                  <a:pt x="3027543" y="479361"/>
                  <a:pt x="3027543" y="681197"/>
                </a:cubicBezTo>
                <a:cubicBezTo>
                  <a:pt x="3027543" y="722999"/>
                  <a:pt x="2993656" y="756886"/>
                  <a:pt x="2951854" y="756886"/>
                </a:cubicBezTo>
                <a:lnTo>
                  <a:pt x="75689" y="756885"/>
                </a:lnTo>
                <a:cubicBezTo>
                  <a:pt x="33887" y="756885"/>
                  <a:pt x="0" y="722998"/>
                  <a:pt x="0" y="681196"/>
                </a:cubicBezTo>
                <a:lnTo>
                  <a:pt x="0" y="75689"/>
                </a:ln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47568" tIns="47568" rIns="47568" bIns="47568" numCol="1" spcCol="1270" anchor="ctr" anchorCtr="0">
            <a:noAutofit/>
          </a:bodyPr>
          <a:lstStyle/>
          <a:p>
            <a:pPr marL="0" lvl="0" indent="0" algn="ctr" defTabSz="8890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2000" kern="1200" dirty="0">
                <a:latin typeface="Malgun Gothic" panose="020B0503020000020004" pitchFamily="34" charset="-127"/>
                <a:ea typeface="Malgun Gothic" panose="020B0503020000020004" pitchFamily="34" charset="-127"/>
              </a:rPr>
              <a:t>Weekly mortality data from the HMD</a:t>
            </a:r>
            <a:endParaRPr lang="en-GB" sz="2000" kern="1200" dirty="0">
              <a:latin typeface="Malgun Gothic" panose="020B0503020000020004" pitchFamily="34" charset="-127"/>
              <a:ea typeface="Malgun Gothic" panose="020B0503020000020004" pitchFamily="34" charset="-127"/>
            </a:endParaRPr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96D660D6-DB4C-4788-9F0B-DD94909173C3}"/>
              </a:ext>
            </a:extLst>
          </p:cNvPr>
          <p:cNvSpPr/>
          <p:nvPr/>
        </p:nvSpPr>
        <p:spPr>
          <a:xfrm>
            <a:off x="4285921" y="3312823"/>
            <a:ext cx="1770958" cy="563967"/>
          </a:xfrm>
          <a:custGeom>
            <a:avLst/>
            <a:gdLst>
              <a:gd name="connsiteX0" fmla="*/ 0 w 3027543"/>
              <a:gd name="connsiteY0" fmla="*/ 75689 h 756885"/>
              <a:gd name="connsiteX1" fmla="*/ 75689 w 3027543"/>
              <a:gd name="connsiteY1" fmla="*/ 0 h 756885"/>
              <a:gd name="connsiteX2" fmla="*/ 2951855 w 3027543"/>
              <a:gd name="connsiteY2" fmla="*/ 0 h 756885"/>
              <a:gd name="connsiteX3" fmla="*/ 3027544 w 3027543"/>
              <a:gd name="connsiteY3" fmla="*/ 75689 h 756885"/>
              <a:gd name="connsiteX4" fmla="*/ 3027543 w 3027543"/>
              <a:gd name="connsiteY4" fmla="*/ 681197 h 756885"/>
              <a:gd name="connsiteX5" fmla="*/ 2951854 w 3027543"/>
              <a:gd name="connsiteY5" fmla="*/ 756886 h 756885"/>
              <a:gd name="connsiteX6" fmla="*/ 75689 w 3027543"/>
              <a:gd name="connsiteY6" fmla="*/ 756885 h 756885"/>
              <a:gd name="connsiteX7" fmla="*/ 0 w 3027543"/>
              <a:gd name="connsiteY7" fmla="*/ 681196 h 756885"/>
              <a:gd name="connsiteX8" fmla="*/ 0 w 3027543"/>
              <a:gd name="connsiteY8" fmla="*/ 75689 h 7568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027543" h="756885">
                <a:moveTo>
                  <a:pt x="0" y="75689"/>
                </a:moveTo>
                <a:cubicBezTo>
                  <a:pt x="0" y="33887"/>
                  <a:pt x="33887" y="0"/>
                  <a:pt x="75689" y="0"/>
                </a:cubicBezTo>
                <a:lnTo>
                  <a:pt x="2951855" y="0"/>
                </a:lnTo>
                <a:cubicBezTo>
                  <a:pt x="2993657" y="0"/>
                  <a:pt x="3027544" y="33887"/>
                  <a:pt x="3027544" y="75689"/>
                </a:cubicBezTo>
                <a:cubicBezTo>
                  <a:pt x="3027544" y="277525"/>
                  <a:pt x="3027543" y="479361"/>
                  <a:pt x="3027543" y="681197"/>
                </a:cubicBezTo>
                <a:cubicBezTo>
                  <a:pt x="3027543" y="722999"/>
                  <a:pt x="2993656" y="756886"/>
                  <a:pt x="2951854" y="756886"/>
                </a:cubicBezTo>
                <a:lnTo>
                  <a:pt x="75689" y="756885"/>
                </a:lnTo>
                <a:cubicBezTo>
                  <a:pt x="33887" y="756885"/>
                  <a:pt x="0" y="722998"/>
                  <a:pt x="0" y="681196"/>
                </a:cubicBezTo>
                <a:lnTo>
                  <a:pt x="0" y="75689"/>
                </a:lnTo>
                <a:close/>
              </a:path>
            </a:pathLst>
          </a:custGeom>
          <a:solidFill>
            <a:srgbClr val="71AEA9"/>
          </a:solidFill>
          <a:ln>
            <a:noFill/>
          </a:ln>
        </p:spPr>
        <p:style>
          <a:lnRef idx="2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79318" tIns="79318" rIns="79318" bIns="79318" numCol="1" spcCol="1270" anchor="ctr" anchorCtr="0">
            <a:noAutofit/>
          </a:bodyPr>
          <a:lstStyle/>
          <a:p>
            <a:pPr lvl="0" algn="ctr" defTabSz="20002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2000" kern="1200" dirty="0">
                <a:solidFill>
                  <a:schemeClr val="tx1"/>
                </a:solidFill>
                <a:latin typeface="Malgun Gothic" panose="020B0503020000020004" pitchFamily="34" charset="-127"/>
                <a:ea typeface="Malgun Gothic" panose="020B0503020000020004" pitchFamily="34" charset="-127"/>
              </a:rPr>
              <a:t>Upper* </a:t>
            </a:r>
            <a:r>
              <a:rPr lang="en-US" sz="2000" dirty="0">
                <a:solidFill>
                  <a:schemeClr val="tx1"/>
                </a:solidFill>
              </a:rPr>
              <a:t>e</a:t>
            </a:r>
            <a:r>
              <a:rPr lang="en-US" sz="2000" baseline="-25000" dirty="0">
                <a:solidFill>
                  <a:schemeClr val="tx1"/>
                </a:solidFill>
              </a:rPr>
              <a:t>0</a:t>
            </a:r>
            <a:r>
              <a:rPr lang="en-US" sz="2000" kern="1200" dirty="0">
                <a:solidFill>
                  <a:schemeClr val="tx1"/>
                </a:solidFill>
                <a:latin typeface="Malgun Gothic" panose="020B0503020000020004" pitchFamily="34" charset="-127"/>
                <a:ea typeface="Malgun Gothic" panose="020B0503020000020004" pitchFamily="34" charset="-127"/>
              </a:rPr>
              <a:t> </a:t>
            </a:r>
            <a:endParaRPr lang="en-GB" sz="2000" kern="1200" dirty="0">
              <a:solidFill>
                <a:schemeClr val="tx1"/>
              </a:solidFill>
              <a:latin typeface="Malgun Gothic" panose="020B0503020000020004" pitchFamily="34" charset="-127"/>
              <a:ea typeface="Malgun Gothic" panose="020B0503020000020004" pitchFamily="34" charset="-127"/>
            </a:endParaRPr>
          </a:p>
        </p:txBody>
      </p:sp>
      <p:sp>
        <p:nvSpPr>
          <p:cNvPr id="19" name="Left Brace 18">
            <a:extLst>
              <a:ext uri="{FF2B5EF4-FFF2-40B4-BE49-F238E27FC236}">
                <a16:creationId xmlns:a16="http://schemas.microsoft.com/office/drawing/2014/main" id="{CFE55716-531D-4FB8-AF52-D6052A4041E0}"/>
              </a:ext>
            </a:extLst>
          </p:cNvPr>
          <p:cNvSpPr/>
          <p:nvPr/>
        </p:nvSpPr>
        <p:spPr>
          <a:xfrm rot="10800000">
            <a:off x="3751568" y="2437601"/>
            <a:ext cx="228259" cy="1220006"/>
          </a:xfrm>
          <a:prstGeom prst="leftBrace">
            <a:avLst>
              <a:gd name="adj1" fmla="val 63047"/>
              <a:gd name="adj2" fmla="val 49890"/>
            </a:avLst>
          </a:prstGeom>
          <a:ln w="19050" cmpd="sng">
            <a:prstDash val="solid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sz="2000"/>
          </a:p>
        </p:txBody>
      </p:sp>
      <p:sp>
        <p:nvSpPr>
          <p:cNvPr id="20" name="Left Brace 19">
            <a:extLst>
              <a:ext uri="{FF2B5EF4-FFF2-40B4-BE49-F238E27FC236}">
                <a16:creationId xmlns:a16="http://schemas.microsoft.com/office/drawing/2014/main" id="{25263EE1-CB97-4DD8-8706-3850E2A7E42D}"/>
              </a:ext>
            </a:extLst>
          </p:cNvPr>
          <p:cNvSpPr/>
          <p:nvPr/>
        </p:nvSpPr>
        <p:spPr>
          <a:xfrm rot="10800000">
            <a:off x="6623080" y="2467502"/>
            <a:ext cx="228259" cy="1220006"/>
          </a:xfrm>
          <a:prstGeom prst="leftBrace">
            <a:avLst>
              <a:gd name="adj1" fmla="val 63047"/>
              <a:gd name="adj2" fmla="val 49890"/>
            </a:avLst>
          </a:prstGeom>
          <a:noFill/>
          <a:ln w="19050" cmpd="sng">
            <a:solidFill>
              <a:schemeClr val="bg1">
                <a:lumMod val="95000"/>
              </a:schemeClr>
            </a:solidFill>
            <a:prstDash val="solid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sz="2000"/>
          </a:p>
        </p:txBody>
      </p:sp>
      <p:sp>
        <p:nvSpPr>
          <p:cNvPr id="21" name="Freeform: Shape 20">
            <a:extLst>
              <a:ext uri="{FF2B5EF4-FFF2-40B4-BE49-F238E27FC236}">
                <a16:creationId xmlns:a16="http://schemas.microsoft.com/office/drawing/2014/main" id="{CAE8A60B-4FEF-4FBC-BB4F-39FF911E02FF}"/>
              </a:ext>
            </a:extLst>
          </p:cNvPr>
          <p:cNvSpPr/>
          <p:nvPr/>
        </p:nvSpPr>
        <p:spPr>
          <a:xfrm>
            <a:off x="7412802" y="2035278"/>
            <a:ext cx="3205207" cy="946784"/>
          </a:xfrm>
          <a:custGeom>
            <a:avLst/>
            <a:gdLst>
              <a:gd name="connsiteX0" fmla="*/ 0 w 3027543"/>
              <a:gd name="connsiteY0" fmla="*/ 75689 h 756885"/>
              <a:gd name="connsiteX1" fmla="*/ 75689 w 3027543"/>
              <a:gd name="connsiteY1" fmla="*/ 0 h 756885"/>
              <a:gd name="connsiteX2" fmla="*/ 2951855 w 3027543"/>
              <a:gd name="connsiteY2" fmla="*/ 0 h 756885"/>
              <a:gd name="connsiteX3" fmla="*/ 3027544 w 3027543"/>
              <a:gd name="connsiteY3" fmla="*/ 75689 h 756885"/>
              <a:gd name="connsiteX4" fmla="*/ 3027543 w 3027543"/>
              <a:gd name="connsiteY4" fmla="*/ 681197 h 756885"/>
              <a:gd name="connsiteX5" fmla="*/ 2951854 w 3027543"/>
              <a:gd name="connsiteY5" fmla="*/ 756886 h 756885"/>
              <a:gd name="connsiteX6" fmla="*/ 75689 w 3027543"/>
              <a:gd name="connsiteY6" fmla="*/ 756885 h 756885"/>
              <a:gd name="connsiteX7" fmla="*/ 0 w 3027543"/>
              <a:gd name="connsiteY7" fmla="*/ 681196 h 756885"/>
              <a:gd name="connsiteX8" fmla="*/ 0 w 3027543"/>
              <a:gd name="connsiteY8" fmla="*/ 75689 h 7568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027543" h="756885">
                <a:moveTo>
                  <a:pt x="0" y="75689"/>
                </a:moveTo>
                <a:cubicBezTo>
                  <a:pt x="0" y="33887"/>
                  <a:pt x="33887" y="0"/>
                  <a:pt x="75689" y="0"/>
                </a:cubicBezTo>
                <a:lnTo>
                  <a:pt x="2951855" y="0"/>
                </a:lnTo>
                <a:cubicBezTo>
                  <a:pt x="2993657" y="0"/>
                  <a:pt x="3027544" y="33887"/>
                  <a:pt x="3027544" y="75689"/>
                </a:cubicBezTo>
                <a:cubicBezTo>
                  <a:pt x="3027544" y="277525"/>
                  <a:pt x="3027543" y="479361"/>
                  <a:pt x="3027543" y="681197"/>
                </a:cubicBezTo>
                <a:cubicBezTo>
                  <a:pt x="3027543" y="722999"/>
                  <a:pt x="2993656" y="756886"/>
                  <a:pt x="2951854" y="756886"/>
                </a:cubicBezTo>
                <a:lnTo>
                  <a:pt x="75689" y="756885"/>
                </a:lnTo>
                <a:cubicBezTo>
                  <a:pt x="33887" y="756885"/>
                  <a:pt x="0" y="722998"/>
                  <a:pt x="0" y="681196"/>
                </a:cubicBezTo>
                <a:lnTo>
                  <a:pt x="0" y="75689"/>
                </a:lnTo>
                <a:close/>
              </a:path>
            </a:pathLst>
          </a:custGeom>
          <a:solidFill>
            <a:schemeClr val="bg1">
              <a:lumMod val="95000"/>
              <a:alpha val="90000"/>
            </a:schemeClr>
          </a:solidFill>
          <a:ln>
            <a:solidFill>
              <a:schemeClr val="bg1">
                <a:lumMod val="95000"/>
                <a:alpha val="90000"/>
              </a:schemeClr>
            </a:solidFill>
          </a:ln>
        </p:spPr>
        <p:style>
          <a:lnRef idx="2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79318" tIns="79318" rIns="79318" bIns="79318" numCol="1" spcCol="1270" anchor="ctr" anchorCtr="0">
            <a:noAutofit/>
          </a:bodyPr>
          <a:lstStyle/>
          <a:p>
            <a:pPr lvl="0" algn="ctr" defTabSz="20002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2000" dirty="0">
                <a:solidFill>
                  <a:schemeClr val="bg1">
                    <a:lumMod val="85000"/>
                  </a:schemeClr>
                </a:solidFill>
                <a:latin typeface="Malgun Gothic" panose="020B0503020000020004" pitchFamily="34" charset="-127"/>
                <a:ea typeface="Malgun Gothic" panose="020B0503020000020004" pitchFamily="34" charset="-127"/>
              </a:rPr>
              <a:t>Decomposition of life expectancy losses by season</a:t>
            </a:r>
            <a:endParaRPr lang="en-GB" sz="2000" dirty="0">
              <a:solidFill>
                <a:schemeClr val="bg1">
                  <a:lumMod val="85000"/>
                </a:schemeClr>
              </a:solidFill>
              <a:latin typeface="Malgun Gothic" panose="020B0503020000020004" pitchFamily="34" charset="-127"/>
              <a:ea typeface="Malgun Gothic" panose="020B0503020000020004" pitchFamily="34" charset="-127"/>
            </a:endParaRPr>
          </a:p>
        </p:txBody>
      </p:sp>
      <p:sp>
        <p:nvSpPr>
          <p:cNvPr id="22" name="Freeform: Shape 21">
            <a:extLst>
              <a:ext uri="{FF2B5EF4-FFF2-40B4-BE49-F238E27FC236}">
                <a16:creationId xmlns:a16="http://schemas.microsoft.com/office/drawing/2014/main" id="{C1927DCD-734A-4FC5-9A54-3CF2896D78A6}"/>
              </a:ext>
            </a:extLst>
          </p:cNvPr>
          <p:cNvSpPr/>
          <p:nvPr/>
        </p:nvSpPr>
        <p:spPr>
          <a:xfrm>
            <a:off x="7412802" y="3233630"/>
            <a:ext cx="3205207" cy="678844"/>
          </a:xfrm>
          <a:custGeom>
            <a:avLst/>
            <a:gdLst>
              <a:gd name="connsiteX0" fmla="*/ 0 w 3027543"/>
              <a:gd name="connsiteY0" fmla="*/ 75689 h 756885"/>
              <a:gd name="connsiteX1" fmla="*/ 75689 w 3027543"/>
              <a:gd name="connsiteY1" fmla="*/ 0 h 756885"/>
              <a:gd name="connsiteX2" fmla="*/ 2951855 w 3027543"/>
              <a:gd name="connsiteY2" fmla="*/ 0 h 756885"/>
              <a:gd name="connsiteX3" fmla="*/ 3027544 w 3027543"/>
              <a:gd name="connsiteY3" fmla="*/ 75689 h 756885"/>
              <a:gd name="connsiteX4" fmla="*/ 3027543 w 3027543"/>
              <a:gd name="connsiteY4" fmla="*/ 681197 h 756885"/>
              <a:gd name="connsiteX5" fmla="*/ 2951854 w 3027543"/>
              <a:gd name="connsiteY5" fmla="*/ 756886 h 756885"/>
              <a:gd name="connsiteX6" fmla="*/ 75689 w 3027543"/>
              <a:gd name="connsiteY6" fmla="*/ 756885 h 756885"/>
              <a:gd name="connsiteX7" fmla="*/ 0 w 3027543"/>
              <a:gd name="connsiteY7" fmla="*/ 681196 h 756885"/>
              <a:gd name="connsiteX8" fmla="*/ 0 w 3027543"/>
              <a:gd name="connsiteY8" fmla="*/ 75689 h 7568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027543" h="756885">
                <a:moveTo>
                  <a:pt x="0" y="75689"/>
                </a:moveTo>
                <a:cubicBezTo>
                  <a:pt x="0" y="33887"/>
                  <a:pt x="33887" y="0"/>
                  <a:pt x="75689" y="0"/>
                </a:cubicBezTo>
                <a:lnTo>
                  <a:pt x="2951855" y="0"/>
                </a:lnTo>
                <a:cubicBezTo>
                  <a:pt x="2993657" y="0"/>
                  <a:pt x="3027544" y="33887"/>
                  <a:pt x="3027544" y="75689"/>
                </a:cubicBezTo>
                <a:cubicBezTo>
                  <a:pt x="3027544" y="277525"/>
                  <a:pt x="3027543" y="479361"/>
                  <a:pt x="3027543" y="681197"/>
                </a:cubicBezTo>
                <a:cubicBezTo>
                  <a:pt x="3027543" y="722999"/>
                  <a:pt x="2993656" y="756886"/>
                  <a:pt x="2951854" y="756886"/>
                </a:cubicBezTo>
                <a:lnTo>
                  <a:pt x="75689" y="756885"/>
                </a:lnTo>
                <a:cubicBezTo>
                  <a:pt x="33887" y="756885"/>
                  <a:pt x="0" y="722998"/>
                  <a:pt x="0" y="681196"/>
                </a:cubicBezTo>
                <a:lnTo>
                  <a:pt x="0" y="75689"/>
                </a:lnTo>
                <a:close/>
              </a:path>
            </a:pathLst>
          </a:custGeom>
          <a:solidFill>
            <a:srgbClr val="F3F3F3"/>
          </a:solidFill>
          <a:ln>
            <a:noFill/>
          </a:ln>
        </p:spPr>
        <p:style>
          <a:lnRef idx="2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79318" tIns="79318" rIns="79318" bIns="79318" numCol="1" spcCol="1270" anchor="ctr" anchorCtr="0">
            <a:noAutofit/>
          </a:bodyPr>
          <a:lstStyle/>
          <a:p>
            <a:pPr lvl="0" algn="ctr" defTabSz="20002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2000" dirty="0">
                <a:solidFill>
                  <a:schemeClr val="bg1">
                    <a:lumMod val="85000"/>
                  </a:schemeClr>
                </a:solidFill>
                <a:latin typeface="Malgun Gothic" panose="020B0503020000020004" pitchFamily="34" charset="-127"/>
                <a:ea typeface="Malgun Gothic" panose="020B0503020000020004" pitchFamily="34" charset="-127"/>
              </a:rPr>
              <a:t>Analysis of </a:t>
            </a:r>
            <a:r>
              <a:rPr lang="en-US" sz="2000" u="sng" dirty="0">
                <a:solidFill>
                  <a:schemeClr val="bg1">
                    <a:lumMod val="85000"/>
                  </a:schemeClr>
                </a:solidFill>
                <a:latin typeface="Malgun Gothic" panose="020B0503020000020004" pitchFamily="34" charset="-127"/>
                <a:ea typeface="Malgun Gothic" panose="020B0503020000020004" pitchFamily="34" charset="-127"/>
              </a:rPr>
              <a:t>observed</a:t>
            </a:r>
            <a:r>
              <a:rPr lang="en-US" sz="2000" dirty="0">
                <a:solidFill>
                  <a:schemeClr val="bg1">
                    <a:lumMod val="85000"/>
                  </a:schemeClr>
                </a:solidFill>
                <a:latin typeface="Malgun Gothic" panose="020B0503020000020004" pitchFamily="34" charset="-127"/>
                <a:ea typeface="Malgun Gothic" panose="020B0503020000020004" pitchFamily="34" charset="-127"/>
              </a:rPr>
              <a:t> and </a:t>
            </a:r>
            <a:r>
              <a:rPr lang="en-US" sz="2000" u="dashLongHeavy" dirty="0">
                <a:solidFill>
                  <a:schemeClr val="bg1">
                    <a:lumMod val="85000"/>
                  </a:schemeClr>
                </a:solidFill>
                <a:latin typeface="Malgun Gothic" panose="020B0503020000020004" pitchFamily="34" charset="-127"/>
                <a:ea typeface="Malgun Gothic" panose="020B0503020000020004" pitchFamily="34" charset="-127"/>
              </a:rPr>
              <a:t>upper</a:t>
            </a:r>
            <a:r>
              <a:rPr lang="en-US" sz="2000" dirty="0">
                <a:solidFill>
                  <a:schemeClr val="bg1">
                    <a:lumMod val="85000"/>
                  </a:schemeClr>
                </a:solidFill>
                <a:latin typeface="Malgun Gothic" panose="020B0503020000020004" pitchFamily="34" charset="-127"/>
                <a:ea typeface="Malgun Gothic" panose="020B0503020000020004" pitchFamily="34" charset="-127"/>
              </a:rPr>
              <a:t> e</a:t>
            </a:r>
            <a:r>
              <a:rPr lang="en-US" sz="2000" baseline="-25000" dirty="0">
                <a:solidFill>
                  <a:schemeClr val="bg1">
                    <a:lumMod val="85000"/>
                  </a:schemeClr>
                </a:solidFill>
                <a:latin typeface="Malgun Gothic" panose="020B0503020000020004" pitchFamily="34" charset="-127"/>
                <a:ea typeface="Malgun Gothic" panose="020B0503020000020004" pitchFamily="34" charset="-127"/>
              </a:rPr>
              <a:t>0 </a:t>
            </a:r>
            <a:r>
              <a:rPr lang="en-US" sz="2000" dirty="0">
                <a:solidFill>
                  <a:schemeClr val="bg1">
                    <a:lumMod val="85000"/>
                  </a:schemeClr>
                </a:solidFill>
                <a:latin typeface="Malgun Gothic" panose="020B0503020000020004" pitchFamily="34" charset="-127"/>
                <a:ea typeface="Malgun Gothic" panose="020B0503020000020004" pitchFamily="34" charset="-127"/>
              </a:rPr>
              <a:t>trends</a:t>
            </a:r>
            <a:endParaRPr lang="en-GB" sz="2000" dirty="0">
              <a:solidFill>
                <a:schemeClr val="bg1">
                  <a:lumMod val="85000"/>
                </a:schemeClr>
              </a:solidFill>
              <a:latin typeface="Malgun Gothic" panose="020B0503020000020004" pitchFamily="34" charset="-127"/>
              <a:ea typeface="Malgun Gothic" panose="020B0503020000020004" pitchFamily="34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53537513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E9521A2-E0F7-4440-A01D-C445EBE08BC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en-US"/>
              <a:t>Max Planck Institute for demographic research                                                                                                                                                                               SEASONAL MORTALITY IN EUROPE | 26/09/2024</a:t>
            </a:r>
            <a:endParaRPr lang="de-DE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9E95B38-06B7-40F2-89AB-C645FF78F5BD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4420"/>
          <a:stretch/>
        </p:blipFill>
        <p:spPr>
          <a:xfrm>
            <a:off x="761989" y="716631"/>
            <a:ext cx="10668022" cy="5826557"/>
          </a:xfrm>
          <a:prstGeom prst="rect">
            <a:avLst/>
          </a:prstGeom>
        </p:spPr>
      </p:pic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8D568577-CDC0-490D-B328-884E7E4ED13F}"/>
              </a:ext>
            </a:extLst>
          </p:cNvPr>
          <p:cNvCxnSpPr>
            <a:cxnSpLocks/>
          </p:cNvCxnSpPr>
          <p:nvPr/>
        </p:nvCxnSpPr>
        <p:spPr>
          <a:xfrm>
            <a:off x="5561815" y="1489439"/>
            <a:ext cx="0" cy="433633"/>
          </a:xfrm>
          <a:prstGeom prst="straightConnector1">
            <a:avLst/>
          </a:prstGeom>
          <a:ln>
            <a:solidFill>
              <a:srgbClr val="C0000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D476D77A-C693-4654-B66D-5867E0E6C63E}"/>
              </a:ext>
            </a:extLst>
          </p:cNvPr>
          <p:cNvCxnSpPr>
            <a:cxnSpLocks/>
          </p:cNvCxnSpPr>
          <p:nvPr/>
        </p:nvCxnSpPr>
        <p:spPr>
          <a:xfrm>
            <a:off x="5561815" y="4128940"/>
            <a:ext cx="0" cy="548326"/>
          </a:xfrm>
          <a:prstGeom prst="straightConnector1">
            <a:avLst/>
          </a:prstGeom>
          <a:ln>
            <a:solidFill>
              <a:srgbClr val="002060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12">
            <a:extLst>
              <a:ext uri="{FF2B5EF4-FFF2-40B4-BE49-F238E27FC236}">
                <a16:creationId xmlns:a16="http://schemas.microsoft.com/office/drawing/2014/main" id="{BEFE0FC9-A231-4737-A16D-01043A7540C0}"/>
              </a:ext>
            </a:extLst>
          </p:cNvPr>
          <p:cNvSpPr/>
          <p:nvPr/>
        </p:nvSpPr>
        <p:spPr>
          <a:xfrm>
            <a:off x="1241199" y="239831"/>
            <a:ext cx="8641231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chemeClr val="tx2"/>
                </a:solidFill>
                <a:latin typeface="Malgun Gothic" panose="020B0503020000020004" pitchFamily="34" charset="-127"/>
                <a:ea typeface="Malgun Gothic" panose="020B0503020000020004" pitchFamily="34" charset="-127"/>
              </a:rPr>
              <a:t>Observed and upper life expectancy at birth by sex, European median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52E83633-0D45-4B92-B4B4-AD57C3F3ED95}"/>
              </a:ext>
            </a:extLst>
          </p:cNvPr>
          <p:cNvSpPr txBox="1"/>
          <p:nvPr/>
        </p:nvSpPr>
        <p:spPr>
          <a:xfrm>
            <a:off x="5711013" y="2614792"/>
            <a:ext cx="2039332" cy="562846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ctr">
              <a:lnSpc>
                <a:spcPts val="2300"/>
              </a:lnSpc>
              <a:spcBef>
                <a:spcPts val="1150"/>
              </a:spcBef>
            </a:pPr>
            <a:r>
              <a:rPr lang="en-US" sz="1600" dirty="0">
                <a:latin typeface="Malgun Gothic" panose="020B0503020000020004" pitchFamily="34" charset="-127"/>
                <a:ea typeface="Malgun Gothic" panose="020B0503020000020004" pitchFamily="34" charset="-127"/>
              </a:rPr>
              <a:t>Life expectancy losses due to seasonality</a:t>
            </a:r>
          </a:p>
        </p:txBody>
      </p:sp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46493555-26FC-4417-B7E7-5BA4C6E06431}"/>
              </a:ext>
            </a:extLst>
          </p:cNvPr>
          <p:cNvCxnSpPr/>
          <p:nvPr/>
        </p:nvCxnSpPr>
        <p:spPr>
          <a:xfrm flipH="1" flipV="1">
            <a:off x="5711013" y="1692538"/>
            <a:ext cx="769974" cy="841653"/>
          </a:xfrm>
          <a:prstGeom prst="straightConnector1">
            <a:avLst/>
          </a:prstGeom>
          <a:ln>
            <a:prstDash val="dash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1A828D30-495F-4655-B5AA-DB7021213FDC}"/>
              </a:ext>
            </a:extLst>
          </p:cNvPr>
          <p:cNvCxnSpPr>
            <a:cxnSpLocks/>
          </p:cNvCxnSpPr>
          <p:nvPr/>
        </p:nvCxnSpPr>
        <p:spPr>
          <a:xfrm flipH="1">
            <a:off x="5711013" y="3258239"/>
            <a:ext cx="919173" cy="1065571"/>
          </a:xfrm>
          <a:prstGeom prst="straightConnector1">
            <a:avLst/>
          </a:prstGeom>
          <a:ln>
            <a:prstDash val="dash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72DCE51B-17CB-4864-879F-CF7F7032AFF5}"/>
              </a:ext>
            </a:extLst>
          </p:cNvPr>
          <p:cNvCxnSpPr>
            <a:cxnSpLocks/>
          </p:cNvCxnSpPr>
          <p:nvPr/>
        </p:nvCxnSpPr>
        <p:spPr>
          <a:xfrm>
            <a:off x="10561695" y="2904973"/>
            <a:ext cx="194411" cy="0"/>
          </a:xfrm>
          <a:prstGeom prst="line">
            <a:avLst/>
          </a:prstGeom>
          <a:ln w="28575" cmpd="sng">
            <a:solidFill>
              <a:schemeClr val="tx1">
                <a:lumMod val="85000"/>
                <a:lumOff val="15000"/>
              </a:schemeClr>
            </a:solidFill>
            <a:prstDash val="sysDash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356942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E74B8D54-B53F-452C-BE50-B76B4C99CF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72885"/>
            <a:ext cx="10296524" cy="1283824"/>
          </a:xfrm>
        </p:spPr>
        <p:txBody>
          <a:bodyPr/>
          <a:lstStyle/>
          <a:p>
            <a:r>
              <a:rPr lang="en-US" dirty="0"/>
              <a:t>Seasonal excess mortality</a:t>
            </a:r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C5B0E17-F558-44E0-B177-4A9C853AFC4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en-US"/>
              <a:t>Max Planck Institute for demographic research                                                                                                                                                                               SEASONAL MORTALITY IN EUROPE | 26/09/2024</a:t>
            </a:r>
            <a:endParaRPr lang="de-DE" dirty="0"/>
          </a:p>
        </p:txBody>
      </p:sp>
      <p:sp>
        <p:nvSpPr>
          <p:cNvPr id="5" name="Rectangle 2">
            <a:extLst>
              <a:ext uri="{FF2B5EF4-FFF2-40B4-BE49-F238E27FC236}">
                <a16:creationId xmlns:a16="http://schemas.microsoft.com/office/drawing/2014/main" id="{9620DC1C-FD4C-49F8-9F51-A09669AABEAD}"/>
              </a:ext>
            </a:extLst>
          </p:cNvPr>
          <p:cNvSpPr>
            <a:spLocks noChangeArrowheads="1"/>
          </p:cNvSpPr>
          <p:nvPr/>
        </p:nvSpPr>
        <p:spPr bwMode="auto">
          <a:xfrm>
            <a:off x="947737" y="5993465"/>
            <a:ext cx="9878025" cy="53860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28575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28575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28575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28575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28575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28575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28575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28575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28575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285750" algn="l"/>
              </a:tabLst>
            </a:pPr>
            <a:r>
              <a:rPr kumimoji="0" lang="en-US" altLang="en-US" sz="1100" b="0" u="none" strike="noStrike" cap="none" normalizeH="0" baseline="0" dirty="0" bmk="_Hlk175935374">
                <a:ln>
                  <a:noFill/>
                </a:ln>
                <a:solidFill>
                  <a:schemeClr val="tx1"/>
                </a:solidFill>
                <a:effectLst/>
                <a:latin typeface="Malgun Gothic Semilight" panose="020B0502040204020203" pitchFamily="34" charset="-128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Difference between the upper and observed life expectancy at birth by sex (in grey the 95% CI), median across the selected 20 European countries, 2000-2019</a:t>
            </a:r>
            <a:endParaRPr kumimoji="0" lang="en-GB" altLang="en-US" sz="700" b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Malgun Gothic Semilight" panose="020B0502040204020203" pitchFamily="34" charset="-128"/>
              <a:ea typeface="Malgun Gothic Semilight" panose="020B0502040204020203" pitchFamily="34" charset="-128"/>
              <a:cs typeface="Malgun Gothic Semilight" panose="020B0502040204020203" pitchFamily="34" charset="-128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285750" algn="l"/>
              </a:tabLst>
            </a:pPr>
            <a:endParaRPr kumimoji="0" lang="en-GB" alt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pic>
        <p:nvPicPr>
          <p:cNvPr id="28673" name="Picture 3">
            <a:extLst>
              <a:ext uri="{FF2B5EF4-FFF2-40B4-BE49-F238E27FC236}">
                <a16:creationId xmlns:a16="http://schemas.microsoft.com/office/drawing/2014/main" id="{DE3775ED-4002-4C7E-A1ED-91A458D2504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7" t="934" r="694" b="1570"/>
          <a:stretch>
            <a:fillRect/>
          </a:stretch>
        </p:blipFill>
        <p:spPr bwMode="auto">
          <a:xfrm>
            <a:off x="688829" y="1275922"/>
            <a:ext cx="8198141" cy="46164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3">
            <a:extLst>
              <a:ext uri="{FF2B5EF4-FFF2-40B4-BE49-F238E27FC236}">
                <a16:creationId xmlns:a16="http://schemas.microsoft.com/office/drawing/2014/main" id="{B10430F9-2075-4F5D-8A90-FE5F96FE6692}"/>
              </a:ext>
            </a:extLst>
          </p:cNvPr>
          <p:cNvSpPr>
            <a:spLocks noChangeArrowheads="1"/>
          </p:cNvSpPr>
          <p:nvPr/>
        </p:nvSpPr>
        <p:spPr bwMode="auto">
          <a:xfrm>
            <a:off x="2088859" y="5868986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GB"/>
          </a:p>
        </p:txBody>
      </p:sp>
      <p:sp>
        <p:nvSpPr>
          <p:cNvPr id="8" name="Flowchart: Card 6">
            <a:extLst>
              <a:ext uri="{FF2B5EF4-FFF2-40B4-BE49-F238E27FC236}">
                <a16:creationId xmlns:a16="http://schemas.microsoft.com/office/drawing/2014/main" id="{305913C9-E019-46A3-B78F-2C65AE589B0D}"/>
              </a:ext>
            </a:extLst>
          </p:cNvPr>
          <p:cNvSpPr/>
          <p:nvPr/>
        </p:nvSpPr>
        <p:spPr>
          <a:xfrm rot="10800000">
            <a:off x="9197813" y="1373283"/>
            <a:ext cx="2644288" cy="3996411"/>
          </a:xfrm>
          <a:custGeom>
            <a:avLst/>
            <a:gdLst>
              <a:gd name="connsiteX0" fmla="*/ 0 w 10000"/>
              <a:gd name="connsiteY0" fmla="*/ 2000 h 10000"/>
              <a:gd name="connsiteX1" fmla="*/ 2000 w 10000"/>
              <a:gd name="connsiteY1" fmla="*/ 0 h 10000"/>
              <a:gd name="connsiteX2" fmla="*/ 10000 w 10000"/>
              <a:gd name="connsiteY2" fmla="*/ 0 h 10000"/>
              <a:gd name="connsiteX3" fmla="*/ 10000 w 10000"/>
              <a:gd name="connsiteY3" fmla="*/ 10000 h 10000"/>
              <a:gd name="connsiteX4" fmla="*/ 0 w 10000"/>
              <a:gd name="connsiteY4" fmla="*/ 10000 h 10000"/>
              <a:gd name="connsiteX5" fmla="*/ 0 w 10000"/>
              <a:gd name="connsiteY5" fmla="*/ 2000 h 10000"/>
              <a:gd name="connsiteX0" fmla="*/ 0 w 10046"/>
              <a:gd name="connsiteY0" fmla="*/ 1419 h 10000"/>
              <a:gd name="connsiteX1" fmla="*/ 2046 w 10046"/>
              <a:gd name="connsiteY1" fmla="*/ 0 h 10000"/>
              <a:gd name="connsiteX2" fmla="*/ 10046 w 10046"/>
              <a:gd name="connsiteY2" fmla="*/ 0 h 10000"/>
              <a:gd name="connsiteX3" fmla="*/ 10046 w 10046"/>
              <a:gd name="connsiteY3" fmla="*/ 10000 h 10000"/>
              <a:gd name="connsiteX4" fmla="*/ 46 w 10046"/>
              <a:gd name="connsiteY4" fmla="*/ 10000 h 10000"/>
              <a:gd name="connsiteX5" fmla="*/ 0 w 10046"/>
              <a:gd name="connsiteY5" fmla="*/ 1419 h 10000"/>
              <a:gd name="connsiteX0" fmla="*/ 47 w 10002"/>
              <a:gd name="connsiteY0" fmla="*/ 1751 h 10000"/>
              <a:gd name="connsiteX1" fmla="*/ 2002 w 10002"/>
              <a:gd name="connsiteY1" fmla="*/ 0 h 10000"/>
              <a:gd name="connsiteX2" fmla="*/ 10002 w 10002"/>
              <a:gd name="connsiteY2" fmla="*/ 0 h 10000"/>
              <a:gd name="connsiteX3" fmla="*/ 10002 w 10002"/>
              <a:gd name="connsiteY3" fmla="*/ 10000 h 10000"/>
              <a:gd name="connsiteX4" fmla="*/ 2 w 10002"/>
              <a:gd name="connsiteY4" fmla="*/ 10000 h 10000"/>
              <a:gd name="connsiteX5" fmla="*/ 47 w 10002"/>
              <a:gd name="connsiteY5" fmla="*/ 1751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02" h="10000">
                <a:moveTo>
                  <a:pt x="47" y="1751"/>
                </a:moveTo>
                <a:lnTo>
                  <a:pt x="2002" y="0"/>
                </a:lnTo>
                <a:lnTo>
                  <a:pt x="10002" y="0"/>
                </a:lnTo>
                <a:lnTo>
                  <a:pt x="10002" y="10000"/>
                </a:lnTo>
                <a:lnTo>
                  <a:pt x="2" y="10000"/>
                </a:lnTo>
                <a:cubicBezTo>
                  <a:pt x="-13" y="7140"/>
                  <a:pt x="62" y="4611"/>
                  <a:pt x="47" y="1751"/>
                </a:cubicBezTo>
                <a:close/>
              </a:path>
            </a:pathLst>
          </a:custGeom>
          <a:solidFill>
            <a:schemeClr val="accent4">
              <a:lumMod val="40000"/>
              <a:lumOff val="60000"/>
            </a:schemeClr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GB" sz="13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F1521E4-5EAA-48C3-96DC-D5706C767DE0}"/>
              </a:ext>
            </a:extLst>
          </p:cNvPr>
          <p:cNvSpPr txBox="1"/>
          <p:nvPr/>
        </p:nvSpPr>
        <p:spPr>
          <a:xfrm>
            <a:off x="9337396" y="1488303"/>
            <a:ext cx="2361267" cy="3554819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marL="180000" indent="-180000">
              <a:spcBef>
                <a:spcPts val="12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>
                <a:latin typeface="Malgun Gothic" panose="020B0503020000020004" pitchFamily="34" charset="-127"/>
                <a:ea typeface="Malgun Gothic" panose="020B0503020000020004" pitchFamily="34" charset="-127"/>
              </a:rPr>
              <a:t>Annual reduction in life expectancy due to seasonal excess mortality of </a:t>
            </a:r>
            <a:r>
              <a:rPr lang="en-US" b="1" dirty="0">
                <a:latin typeface="Malgun Gothic" panose="020B0503020000020004" pitchFamily="34" charset="-127"/>
                <a:ea typeface="Malgun Gothic" panose="020B0503020000020004" pitchFamily="34" charset="-127"/>
              </a:rPr>
              <a:t>1.1 (males) </a:t>
            </a:r>
            <a:r>
              <a:rPr lang="en-US" dirty="0">
                <a:latin typeface="Malgun Gothic" panose="020B0503020000020004" pitchFamily="34" charset="-127"/>
                <a:ea typeface="Malgun Gothic" panose="020B0503020000020004" pitchFamily="34" charset="-127"/>
              </a:rPr>
              <a:t>and </a:t>
            </a:r>
            <a:r>
              <a:rPr lang="en-US" b="1" dirty="0">
                <a:latin typeface="Malgun Gothic" panose="020B0503020000020004" pitchFamily="34" charset="-127"/>
                <a:ea typeface="Malgun Gothic" panose="020B0503020000020004" pitchFamily="34" charset="-127"/>
              </a:rPr>
              <a:t>0.8 years (females) </a:t>
            </a:r>
            <a:r>
              <a:rPr lang="en-US" dirty="0">
                <a:latin typeface="Malgun Gothic" panose="020B0503020000020004" pitchFamily="34" charset="-127"/>
                <a:ea typeface="Malgun Gothic" panose="020B0503020000020004" pitchFamily="34" charset="-127"/>
              </a:rPr>
              <a:t>on average</a:t>
            </a:r>
            <a:endParaRPr lang="en-US" b="1" dirty="0">
              <a:latin typeface="Malgun Gothic" panose="020B0503020000020004" pitchFamily="34" charset="-127"/>
              <a:ea typeface="Malgun Gothic" panose="020B0503020000020004" pitchFamily="34" charset="-127"/>
            </a:endParaRPr>
          </a:p>
          <a:p>
            <a:pPr marL="180000" indent="-180000">
              <a:spcBef>
                <a:spcPts val="12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>
                <a:latin typeface="Malgun Gothic" panose="020B0503020000020004" pitchFamily="34" charset="-127"/>
                <a:ea typeface="Malgun Gothic" panose="020B0503020000020004" pitchFamily="34" charset="-127"/>
              </a:rPr>
              <a:t>Around 70% and 90% of these reductions were attributable to </a:t>
            </a:r>
            <a:r>
              <a:rPr lang="en-US" b="1" dirty="0">
                <a:latin typeface="Malgun Gothic" panose="020B0503020000020004" pitchFamily="34" charset="-127"/>
                <a:ea typeface="Malgun Gothic" panose="020B0503020000020004" pitchFamily="34" charset="-127"/>
              </a:rPr>
              <a:t>older ages</a:t>
            </a:r>
            <a:endParaRPr lang="en-GB" sz="1600" b="1" dirty="0">
              <a:latin typeface="Malgun Gothic" panose="020B0503020000020004" pitchFamily="34" charset="-127"/>
              <a:ea typeface="Malgun Gothic" panose="020B0503020000020004" pitchFamily="34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2690075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9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EDBB4E5-8F97-4A1D-B21C-EB4629D41B0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en-US"/>
              <a:t>Max Planck Institute for demographic research                                                                                                                                                                               SEASONAL MORTALITY IN EUROPE | 26/09/2024</a:t>
            </a:r>
            <a:endParaRPr lang="de-DE" dirty="0"/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81003C35-FD44-4C11-92FE-601C3C8F06E9}"/>
              </a:ext>
            </a:extLst>
          </p:cNvPr>
          <p:cNvSpPr/>
          <p:nvPr/>
        </p:nvSpPr>
        <p:spPr>
          <a:xfrm>
            <a:off x="4290658" y="2149217"/>
            <a:ext cx="1770958" cy="678843"/>
          </a:xfrm>
          <a:custGeom>
            <a:avLst/>
            <a:gdLst>
              <a:gd name="connsiteX0" fmla="*/ 0 w 3027543"/>
              <a:gd name="connsiteY0" fmla="*/ 75689 h 756885"/>
              <a:gd name="connsiteX1" fmla="*/ 75689 w 3027543"/>
              <a:gd name="connsiteY1" fmla="*/ 0 h 756885"/>
              <a:gd name="connsiteX2" fmla="*/ 2951855 w 3027543"/>
              <a:gd name="connsiteY2" fmla="*/ 0 h 756885"/>
              <a:gd name="connsiteX3" fmla="*/ 3027544 w 3027543"/>
              <a:gd name="connsiteY3" fmla="*/ 75689 h 756885"/>
              <a:gd name="connsiteX4" fmla="*/ 3027543 w 3027543"/>
              <a:gd name="connsiteY4" fmla="*/ 681197 h 756885"/>
              <a:gd name="connsiteX5" fmla="*/ 2951854 w 3027543"/>
              <a:gd name="connsiteY5" fmla="*/ 756886 h 756885"/>
              <a:gd name="connsiteX6" fmla="*/ 75689 w 3027543"/>
              <a:gd name="connsiteY6" fmla="*/ 756885 h 756885"/>
              <a:gd name="connsiteX7" fmla="*/ 0 w 3027543"/>
              <a:gd name="connsiteY7" fmla="*/ 681196 h 756885"/>
              <a:gd name="connsiteX8" fmla="*/ 0 w 3027543"/>
              <a:gd name="connsiteY8" fmla="*/ 75689 h 7568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027543" h="756885">
                <a:moveTo>
                  <a:pt x="0" y="75689"/>
                </a:moveTo>
                <a:cubicBezTo>
                  <a:pt x="0" y="33887"/>
                  <a:pt x="33887" y="0"/>
                  <a:pt x="75689" y="0"/>
                </a:cubicBezTo>
                <a:lnTo>
                  <a:pt x="2951855" y="0"/>
                </a:lnTo>
                <a:cubicBezTo>
                  <a:pt x="2993657" y="0"/>
                  <a:pt x="3027544" y="33887"/>
                  <a:pt x="3027544" y="75689"/>
                </a:cubicBezTo>
                <a:cubicBezTo>
                  <a:pt x="3027544" y="277525"/>
                  <a:pt x="3027543" y="479361"/>
                  <a:pt x="3027543" y="681197"/>
                </a:cubicBezTo>
                <a:cubicBezTo>
                  <a:pt x="3027543" y="722999"/>
                  <a:pt x="2993656" y="756886"/>
                  <a:pt x="2951854" y="756886"/>
                </a:cubicBezTo>
                <a:lnTo>
                  <a:pt x="75689" y="756885"/>
                </a:lnTo>
                <a:cubicBezTo>
                  <a:pt x="33887" y="756885"/>
                  <a:pt x="0" y="722998"/>
                  <a:pt x="0" y="681196"/>
                </a:cubicBezTo>
                <a:lnTo>
                  <a:pt x="0" y="75689"/>
                </a:lnTo>
                <a:close/>
              </a:path>
            </a:pathLst>
          </a:custGeom>
          <a:solidFill>
            <a:schemeClr val="accent4">
              <a:lumMod val="75000"/>
              <a:alpha val="90000"/>
            </a:schemeClr>
          </a:solidFill>
          <a:ln>
            <a:noFill/>
          </a:ln>
        </p:spPr>
        <p:style>
          <a:lnRef idx="2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79318" tIns="79318" rIns="79318" bIns="79318" numCol="1" spcCol="1270" anchor="ctr" anchorCtr="0">
            <a:noAutofit/>
          </a:bodyPr>
          <a:lstStyle/>
          <a:p>
            <a:pPr lvl="0" algn="ctr" defTabSz="20002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2000" kern="1200" dirty="0">
                <a:latin typeface="Malgun Gothic" panose="020B0503020000020004" pitchFamily="34" charset="-127"/>
                <a:ea typeface="Malgun Gothic" panose="020B0503020000020004" pitchFamily="34" charset="-127"/>
              </a:rPr>
              <a:t>Annual and seasonal </a:t>
            </a:r>
            <a:r>
              <a:rPr lang="en-US" sz="2000" dirty="0"/>
              <a:t>e</a:t>
            </a:r>
            <a:r>
              <a:rPr lang="en-US" sz="2000" baseline="-25000" dirty="0"/>
              <a:t>0</a:t>
            </a:r>
            <a:endParaRPr lang="en-GB" sz="2000" kern="1200" dirty="0">
              <a:latin typeface="Malgun Gothic" panose="020B0503020000020004" pitchFamily="34" charset="-127"/>
              <a:ea typeface="Malgun Gothic" panose="020B0503020000020004" pitchFamily="34" charset="-127"/>
            </a:endParaRPr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1E85CB14-A0F3-4F79-AA4F-4B07C2310986}"/>
              </a:ext>
            </a:extLst>
          </p:cNvPr>
          <p:cNvSpPr/>
          <p:nvPr/>
        </p:nvSpPr>
        <p:spPr>
          <a:xfrm>
            <a:off x="947739" y="2650308"/>
            <a:ext cx="2502471" cy="756885"/>
          </a:xfrm>
          <a:custGeom>
            <a:avLst/>
            <a:gdLst>
              <a:gd name="connsiteX0" fmla="*/ 0 w 3027543"/>
              <a:gd name="connsiteY0" fmla="*/ 75689 h 756885"/>
              <a:gd name="connsiteX1" fmla="*/ 75689 w 3027543"/>
              <a:gd name="connsiteY1" fmla="*/ 0 h 756885"/>
              <a:gd name="connsiteX2" fmla="*/ 2951855 w 3027543"/>
              <a:gd name="connsiteY2" fmla="*/ 0 h 756885"/>
              <a:gd name="connsiteX3" fmla="*/ 3027544 w 3027543"/>
              <a:gd name="connsiteY3" fmla="*/ 75689 h 756885"/>
              <a:gd name="connsiteX4" fmla="*/ 3027543 w 3027543"/>
              <a:gd name="connsiteY4" fmla="*/ 681197 h 756885"/>
              <a:gd name="connsiteX5" fmla="*/ 2951854 w 3027543"/>
              <a:gd name="connsiteY5" fmla="*/ 756886 h 756885"/>
              <a:gd name="connsiteX6" fmla="*/ 75689 w 3027543"/>
              <a:gd name="connsiteY6" fmla="*/ 756885 h 756885"/>
              <a:gd name="connsiteX7" fmla="*/ 0 w 3027543"/>
              <a:gd name="connsiteY7" fmla="*/ 681196 h 756885"/>
              <a:gd name="connsiteX8" fmla="*/ 0 w 3027543"/>
              <a:gd name="connsiteY8" fmla="*/ 75689 h 7568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027543" h="756885">
                <a:moveTo>
                  <a:pt x="0" y="75689"/>
                </a:moveTo>
                <a:cubicBezTo>
                  <a:pt x="0" y="33887"/>
                  <a:pt x="33887" y="0"/>
                  <a:pt x="75689" y="0"/>
                </a:cubicBezTo>
                <a:lnTo>
                  <a:pt x="2951855" y="0"/>
                </a:lnTo>
                <a:cubicBezTo>
                  <a:pt x="2993657" y="0"/>
                  <a:pt x="3027544" y="33887"/>
                  <a:pt x="3027544" y="75689"/>
                </a:cubicBezTo>
                <a:cubicBezTo>
                  <a:pt x="3027544" y="277525"/>
                  <a:pt x="3027543" y="479361"/>
                  <a:pt x="3027543" y="681197"/>
                </a:cubicBezTo>
                <a:cubicBezTo>
                  <a:pt x="3027543" y="722999"/>
                  <a:pt x="2993656" y="756886"/>
                  <a:pt x="2951854" y="756886"/>
                </a:cubicBezTo>
                <a:lnTo>
                  <a:pt x="75689" y="756885"/>
                </a:lnTo>
                <a:cubicBezTo>
                  <a:pt x="33887" y="756885"/>
                  <a:pt x="0" y="722998"/>
                  <a:pt x="0" y="681196"/>
                </a:cubicBezTo>
                <a:lnTo>
                  <a:pt x="0" y="75689"/>
                </a:ln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47568" tIns="47568" rIns="47568" bIns="47568" numCol="1" spcCol="1270" anchor="ctr" anchorCtr="0">
            <a:noAutofit/>
          </a:bodyPr>
          <a:lstStyle/>
          <a:p>
            <a:pPr marL="0" lvl="0" indent="0" algn="ctr" defTabSz="8890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2000" kern="1200" dirty="0">
                <a:latin typeface="Malgun Gothic" panose="020B0503020000020004" pitchFamily="34" charset="-127"/>
                <a:ea typeface="Malgun Gothic" panose="020B0503020000020004" pitchFamily="34" charset="-127"/>
              </a:rPr>
              <a:t>Weekly mortality data from the HMD</a:t>
            </a:r>
            <a:endParaRPr lang="en-GB" sz="2000" kern="1200" dirty="0">
              <a:latin typeface="Malgun Gothic" panose="020B0503020000020004" pitchFamily="34" charset="-127"/>
              <a:ea typeface="Malgun Gothic" panose="020B0503020000020004" pitchFamily="34" charset="-127"/>
            </a:endParaRPr>
          </a:p>
        </p:txBody>
      </p:sp>
      <p:sp>
        <p:nvSpPr>
          <p:cNvPr id="30" name="Freeform: Shape 29">
            <a:extLst>
              <a:ext uri="{FF2B5EF4-FFF2-40B4-BE49-F238E27FC236}">
                <a16:creationId xmlns:a16="http://schemas.microsoft.com/office/drawing/2014/main" id="{051833E2-780E-4A88-BA81-B900D6AE3596}"/>
              </a:ext>
            </a:extLst>
          </p:cNvPr>
          <p:cNvSpPr/>
          <p:nvPr/>
        </p:nvSpPr>
        <p:spPr>
          <a:xfrm>
            <a:off x="4285921" y="3293969"/>
            <a:ext cx="1770958" cy="563967"/>
          </a:xfrm>
          <a:custGeom>
            <a:avLst/>
            <a:gdLst>
              <a:gd name="connsiteX0" fmla="*/ 0 w 3027543"/>
              <a:gd name="connsiteY0" fmla="*/ 75689 h 756885"/>
              <a:gd name="connsiteX1" fmla="*/ 75689 w 3027543"/>
              <a:gd name="connsiteY1" fmla="*/ 0 h 756885"/>
              <a:gd name="connsiteX2" fmla="*/ 2951855 w 3027543"/>
              <a:gd name="connsiteY2" fmla="*/ 0 h 756885"/>
              <a:gd name="connsiteX3" fmla="*/ 3027544 w 3027543"/>
              <a:gd name="connsiteY3" fmla="*/ 75689 h 756885"/>
              <a:gd name="connsiteX4" fmla="*/ 3027543 w 3027543"/>
              <a:gd name="connsiteY4" fmla="*/ 681197 h 756885"/>
              <a:gd name="connsiteX5" fmla="*/ 2951854 w 3027543"/>
              <a:gd name="connsiteY5" fmla="*/ 756886 h 756885"/>
              <a:gd name="connsiteX6" fmla="*/ 75689 w 3027543"/>
              <a:gd name="connsiteY6" fmla="*/ 756885 h 756885"/>
              <a:gd name="connsiteX7" fmla="*/ 0 w 3027543"/>
              <a:gd name="connsiteY7" fmla="*/ 681196 h 756885"/>
              <a:gd name="connsiteX8" fmla="*/ 0 w 3027543"/>
              <a:gd name="connsiteY8" fmla="*/ 75689 h 7568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027543" h="756885">
                <a:moveTo>
                  <a:pt x="0" y="75689"/>
                </a:moveTo>
                <a:cubicBezTo>
                  <a:pt x="0" y="33887"/>
                  <a:pt x="33887" y="0"/>
                  <a:pt x="75689" y="0"/>
                </a:cubicBezTo>
                <a:lnTo>
                  <a:pt x="2951855" y="0"/>
                </a:lnTo>
                <a:cubicBezTo>
                  <a:pt x="2993657" y="0"/>
                  <a:pt x="3027544" y="33887"/>
                  <a:pt x="3027544" y="75689"/>
                </a:cubicBezTo>
                <a:cubicBezTo>
                  <a:pt x="3027544" y="277525"/>
                  <a:pt x="3027543" y="479361"/>
                  <a:pt x="3027543" y="681197"/>
                </a:cubicBezTo>
                <a:cubicBezTo>
                  <a:pt x="3027543" y="722999"/>
                  <a:pt x="2993656" y="756886"/>
                  <a:pt x="2951854" y="756886"/>
                </a:cubicBezTo>
                <a:lnTo>
                  <a:pt x="75689" y="756885"/>
                </a:lnTo>
                <a:cubicBezTo>
                  <a:pt x="33887" y="756885"/>
                  <a:pt x="0" y="722998"/>
                  <a:pt x="0" y="681196"/>
                </a:cubicBezTo>
                <a:lnTo>
                  <a:pt x="0" y="75689"/>
                </a:lnTo>
                <a:close/>
              </a:path>
            </a:pathLst>
          </a:custGeom>
          <a:solidFill>
            <a:schemeClr val="accent4">
              <a:lumMod val="75000"/>
              <a:alpha val="90000"/>
            </a:schemeClr>
          </a:solidFill>
          <a:ln>
            <a:noFill/>
          </a:ln>
        </p:spPr>
        <p:style>
          <a:lnRef idx="2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79318" tIns="79318" rIns="79318" bIns="79318" numCol="1" spcCol="1270" anchor="ctr" anchorCtr="0">
            <a:noAutofit/>
          </a:bodyPr>
          <a:lstStyle/>
          <a:p>
            <a:pPr lvl="0" algn="ctr" defTabSz="20002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2000" kern="1200" dirty="0">
                <a:latin typeface="Malgun Gothic" panose="020B0503020000020004" pitchFamily="34" charset="-127"/>
                <a:ea typeface="Malgun Gothic" panose="020B0503020000020004" pitchFamily="34" charset="-127"/>
              </a:rPr>
              <a:t>Upper* </a:t>
            </a:r>
            <a:r>
              <a:rPr lang="en-US" sz="2000" dirty="0"/>
              <a:t>e</a:t>
            </a:r>
            <a:r>
              <a:rPr lang="en-US" sz="2000" baseline="-25000" dirty="0"/>
              <a:t>0</a:t>
            </a:r>
            <a:r>
              <a:rPr lang="en-US" sz="2000" kern="1200" dirty="0">
                <a:latin typeface="Malgun Gothic" panose="020B0503020000020004" pitchFamily="34" charset="-127"/>
                <a:ea typeface="Malgun Gothic" panose="020B0503020000020004" pitchFamily="34" charset="-127"/>
              </a:rPr>
              <a:t> </a:t>
            </a:r>
            <a:endParaRPr lang="en-GB" sz="2000" kern="1200" dirty="0">
              <a:latin typeface="Malgun Gothic" panose="020B0503020000020004" pitchFamily="34" charset="-127"/>
              <a:ea typeface="Malgun Gothic" panose="020B0503020000020004" pitchFamily="34" charset="-127"/>
            </a:endParaRPr>
          </a:p>
        </p:txBody>
      </p:sp>
      <p:sp>
        <p:nvSpPr>
          <p:cNvPr id="37" name="Freeform: Shape 36">
            <a:extLst>
              <a:ext uri="{FF2B5EF4-FFF2-40B4-BE49-F238E27FC236}">
                <a16:creationId xmlns:a16="http://schemas.microsoft.com/office/drawing/2014/main" id="{46A1F37D-DE51-43FF-9677-2A69FD6A53CA}"/>
              </a:ext>
            </a:extLst>
          </p:cNvPr>
          <p:cNvSpPr/>
          <p:nvPr/>
        </p:nvSpPr>
        <p:spPr>
          <a:xfrm>
            <a:off x="7291862" y="1976284"/>
            <a:ext cx="3205207" cy="967124"/>
          </a:xfrm>
          <a:custGeom>
            <a:avLst/>
            <a:gdLst>
              <a:gd name="connsiteX0" fmla="*/ 0 w 3027543"/>
              <a:gd name="connsiteY0" fmla="*/ 75689 h 756885"/>
              <a:gd name="connsiteX1" fmla="*/ 75689 w 3027543"/>
              <a:gd name="connsiteY1" fmla="*/ 0 h 756885"/>
              <a:gd name="connsiteX2" fmla="*/ 2951855 w 3027543"/>
              <a:gd name="connsiteY2" fmla="*/ 0 h 756885"/>
              <a:gd name="connsiteX3" fmla="*/ 3027544 w 3027543"/>
              <a:gd name="connsiteY3" fmla="*/ 75689 h 756885"/>
              <a:gd name="connsiteX4" fmla="*/ 3027543 w 3027543"/>
              <a:gd name="connsiteY4" fmla="*/ 681197 h 756885"/>
              <a:gd name="connsiteX5" fmla="*/ 2951854 w 3027543"/>
              <a:gd name="connsiteY5" fmla="*/ 756886 h 756885"/>
              <a:gd name="connsiteX6" fmla="*/ 75689 w 3027543"/>
              <a:gd name="connsiteY6" fmla="*/ 756885 h 756885"/>
              <a:gd name="connsiteX7" fmla="*/ 0 w 3027543"/>
              <a:gd name="connsiteY7" fmla="*/ 681196 h 756885"/>
              <a:gd name="connsiteX8" fmla="*/ 0 w 3027543"/>
              <a:gd name="connsiteY8" fmla="*/ 75689 h 7568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027543" h="756885">
                <a:moveTo>
                  <a:pt x="0" y="75689"/>
                </a:moveTo>
                <a:cubicBezTo>
                  <a:pt x="0" y="33887"/>
                  <a:pt x="33887" y="0"/>
                  <a:pt x="75689" y="0"/>
                </a:cubicBezTo>
                <a:lnTo>
                  <a:pt x="2951855" y="0"/>
                </a:lnTo>
                <a:cubicBezTo>
                  <a:pt x="2993657" y="0"/>
                  <a:pt x="3027544" y="33887"/>
                  <a:pt x="3027544" y="75689"/>
                </a:cubicBezTo>
                <a:cubicBezTo>
                  <a:pt x="3027544" y="277525"/>
                  <a:pt x="3027543" y="479361"/>
                  <a:pt x="3027543" y="681197"/>
                </a:cubicBezTo>
                <a:cubicBezTo>
                  <a:pt x="3027543" y="722999"/>
                  <a:pt x="2993656" y="756886"/>
                  <a:pt x="2951854" y="756886"/>
                </a:cubicBezTo>
                <a:lnTo>
                  <a:pt x="75689" y="756885"/>
                </a:lnTo>
                <a:cubicBezTo>
                  <a:pt x="33887" y="756885"/>
                  <a:pt x="0" y="722998"/>
                  <a:pt x="0" y="681196"/>
                </a:cubicBezTo>
                <a:lnTo>
                  <a:pt x="0" y="75689"/>
                </a:lnTo>
                <a:close/>
              </a:path>
            </a:pathLst>
          </a:custGeom>
          <a:solidFill>
            <a:srgbClr val="71AEA9"/>
          </a:solidFill>
          <a:ln>
            <a:noFill/>
          </a:ln>
        </p:spPr>
        <p:style>
          <a:lnRef idx="2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79318" tIns="79318" rIns="79318" bIns="79318" numCol="1" spcCol="1270" anchor="ctr" anchorCtr="0">
            <a:noAutofit/>
          </a:bodyPr>
          <a:lstStyle/>
          <a:p>
            <a:pPr lvl="0" algn="ctr" defTabSz="20002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2000" kern="1200" dirty="0">
                <a:latin typeface="Malgun Gothic" panose="020B0503020000020004" pitchFamily="34" charset="-127"/>
                <a:ea typeface="Malgun Gothic" panose="020B0503020000020004" pitchFamily="34" charset="-127"/>
              </a:rPr>
              <a:t>Decomposition of life expectancy losses by season</a:t>
            </a:r>
            <a:endParaRPr lang="en-GB" sz="2000" kern="1200" dirty="0">
              <a:latin typeface="Malgun Gothic" panose="020B0503020000020004" pitchFamily="34" charset="-127"/>
              <a:ea typeface="Malgun Gothic" panose="020B0503020000020004" pitchFamily="34" charset="-127"/>
            </a:endParaRPr>
          </a:p>
        </p:txBody>
      </p:sp>
      <p:sp>
        <p:nvSpPr>
          <p:cNvPr id="4" name="Left Brace 3">
            <a:extLst>
              <a:ext uri="{FF2B5EF4-FFF2-40B4-BE49-F238E27FC236}">
                <a16:creationId xmlns:a16="http://schemas.microsoft.com/office/drawing/2014/main" id="{A820209C-87D5-4972-9E33-84E478642AF8}"/>
              </a:ext>
            </a:extLst>
          </p:cNvPr>
          <p:cNvSpPr/>
          <p:nvPr/>
        </p:nvSpPr>
        <p:spPr>
          <a:xfrm rot="10800000">
            <a:off x="3751568" y="2418747"/>
            <a:ext cx="228259" cy="1220006"/>
          </a:xfrm>
          <a:prstGeom prst="leftBrace">
            <a:avLst>
              <a:gd name="adj1" fmla="val 63047"/>
              <a:gd name="adj2" fmla="val 49890"/>
            </a:avLst>
          </a:prstGeom>
          <a:ln w="19050" cmpd="sng">
            <a:prstDash val="solid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sz="2000"/>
          </a:p>
        </p:txBody>
      </p:sp>
      <p:sp>
        <p:nvSpPr>
          <p:cNvPr id="18" name="Left Brace 17">
            <a:extLst>
              <a:ext uri="{FF2B5EF4-FFF2-40B4-BE49-F238E27FC236}">
                <a16:creationId xmlns:a16="http://schemas.microsoft.com/office/drawing/2014/main" id="{76FCE8DB-8C57-4788-8BCE-8E7D76E0E52A}"/>
              </a:ext>
            </a:extLst>
          </p:cNvPr>
          <p:cNvSpPr/>
          <p:nvPr/>
        </p:nvSpPr>
        <p:spPr>
          <a:xfrm rot="10800000">
            <a:off x="6623080" y="2448648"/>
            <a:ext cx="228259" cy="1220006"/>
          </a:xfrm>
          <a:prstGeom prst="leftBrace">
            <a:avLst>
              <a:gd name="adj1" fmla="val 63047"/>
              <a:gd name="adj2" fmla="val 49890"/>
            </a:avLst>
          </a:prstGeom>
          <a:ln w="19050" cmpd="sng">
            <a:prstDash val="solid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sz="2000"/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6C27637A-86EB-431E-A004-12BAE812A915}"/>
              </a:ext>
            </a:extLst>
          </p:cNvPr>
          <p:cNvSpPr/>
          <p:nvPr/>
        </p:nvSpPr>
        <p:spPr>
          <a:xfrm>
            <a:off x="7291862" y="3179092"/>
            <a:ext cx="3205207" cy="678844"/>
          </a:xfrm>
          <a:custGeom>
            <a:avLst/>
            <a:gdLst>
              <a:gd name="connsiteX0" fmla="*/ 0 w 3027543"/>
              <a:gd name="connsiteY0" fmla="*/ 75689 h 756885"/>
              <a:gd name="connsiteX1" fmla="*/ 75689 w 3027543"/>
              <a:gd name="connsiteY1" fmla="*/ 0 h 756885"/>
              <a:gd name="connsiteX2" fmla="*/ 2951855 w 3027543"/>
              <a:gd name="connsiteY2" fmla="*/ 0 h 756885"/>
              <a:gd name="connsiteX3" fmla="*/ 3027544 w 3027543"/>
              <a:gd name="connsiteY3" fmla="*/ 75689 h 756885"/>
              <a:gd name="connsiteX4" fmla="*/ 3027543 w 3027543"/>
              <a:gd name="connsiteY4" fmla="*/ 681197 h 756885"/>
              <a:gd name="connsiteX5" fmla="*/ 2951854 w 3027543"/>
              <a:gd name="connsiteY5" fmla="*/ 756886 h 756885"/>
              <a:gd name="connsiteX6" fmla="*/ 75689 w 3027543"/>
              <a:gd name="connsiteY6" fmla="*/ 756885 h 756885"/>
              <a:gd name="connsiteX7" fmla="*/ 0 w 3027543"/>
              <a:gd name="connsiteY7" fmla="*/ 681196 h 756885"/>
              <a:gd name="connsiteX8" fmla="*/ 0 w 3027543"/>
              <a:gd name="connsiteY8" fmla="*/ 75689 h 7568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027543" h="756885">
                <a:moveTo>
                  <a:pt x="0" y="75689"/>
                </a:moveTo>
                <a:cubicBezTo>
                  <a:pt x="0" y="33887"/>
                  <a:pt x="33887" y="0"/>
                  <a:pt x="75689" y="0"/>
                </a:cubicBezTo>
                <a:lnTo>
                  <a:pt x="2951855" y="0"/>
                </a:lnTo>
                <a:cubicBezTo>
                  <a:pt x="2993657" y="0"/>
                  <a:pt x="3027544" y="33887"/>
                  <a:pt x="3027544" y="75689"/>
                </a:cubicBezTo>
                <a:cubicBezTo>
                  <a:pt x="3027544" y="277525"/>
                  <a:pt x="3027543" y="479361"/>
                  <a:pt x="3027543" y="681197"/>
                </a:cubicBezTo>
                <a:cubicBezTo>
                  <a:pt x="3027543" y="722999"/>
                  <a:pt x="2993656" y="756886"/>
                  <a:pt x="2951854" y="756886"/>
                </a:cubicBezTo>
                <a:lnTo>
                  <a:pt x="75689" y="756885"/>
                </a:lnTo>
                <a:cubicBezTo>
                  <a:pt x="33887" y="756885"/>
                  <a:pt x="0" y="722998"/>
                  <a:pt x="0" y="681196"/>
                </a:cubicBezTo>
                <a:lnTo>
                  <a:pt x="0" y="75689"/>
                </a:lnTo>
                <a:close/>
              </a:path>
            </a:pathLst>
          </a:custGeom>
          <a:solidFill>
            <a:srgbClr val="F2F2F2"/>
          </a:solidFill>
          <a:ln>
            <a:noFill/>
          </a:ln>
        </p:spPr>
        <p:style>
          <a:lnRef idx="2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79318" tIns="79318" rIns="79318" bIns="79318" numCol="1" spcCol="1270" anchor="ctr" anchorCtr="0">
            <a:noAutofit/>
          </a:bodyPr>
          <a:lstStyle/>
          <a:p>
            <a:pPr lvl="0" algn="ctr" defTabSz="20002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2000" dirty="0">
                <a:solidFill>
                  <a:srgbClr val="D0D8D7"/>
                </a:solidFill>
                <a:latin typeface="Malgun Gothic" panose="020B0503020000020004" pitchFamily="34" charset="-127"/>
                <a:ea typeface="Malgun Gothic" panose="020B0503020000020004" pitchFamily="34" charset="-127"/>
              </a:rPr>
              <a:t>Analysis of </a:t>
            </a:r>
            <a:r>
              <a:rPr lang="en-US" sz="2000" u="sng" dirty="0">
                <a:solidFill>
                  <a:srgbClr val="D0D8D7"/>
                </a:solidFill>
                <a:latin typeface="Malgun Gothic" panose="020B0503020000020004" pitchFamily="34" charset="-127"/>
                <a:ea typeface="Malgun Gothic" panose="020B0503020000020004" pitchFamily="34" charset="-127"/>
              </a:rPr>
              <a:t>observed</a:t>
            </a:r>
            <a:r>
              <a:rPr lang="en-US" sz="2000" dirty="0">
                <a:solidFill>
                  <a:srgbClr val="D0D8D7"/>
                </a:solidFill>
                <a:latin typeface="Malgun Gothic" panose="020B0503020000020004" pitchFamily="34" charset="-127"/>
                <a:ea typeface="Malgun Gothic" panose="020B0503020000020004" pitchFamily="34" charset="-127"/>
              </a:rPr>
              <a:t> and </a:t>
            </a:r>
            <a:r>
              <a:rPr lang="en-US" sz="2000" u="dashLong" dirty="0">
                <a:solidFill>
                  <a:srgbClr val="D0D8D7"/>
                </a:solidFill>
                <a:latin typeface="Malgun Gothic" panose="020B0503020000020004" pitchFamily="34" charset="-127"/>
                <a:ea typeface="Malgun Gothic" panose="020B0503020000020004" pitchFamily="34" charset="-127"/>
              </a:rPr>
              <a:t>upper</a:t>
            </a:r>
            <a:r>
              <a:rPr lang="en-US" sz="2000" dirty="0">
                <a:solidFill>
                  <a:srgbClr val="D0D8D7"/>
                </a:solidFill>
                <a:latin typeface="Malgun Gothic" panose="020B0503020000020004" pitchFamily="34" charset="-127"/>
                <a:ea typeface="Malgun Gothic" panose="020B0503020000020004" pitchFamily="34" charset="-127"/>
              </a:rPr>
              <a:t> e</a:t>
            </a:r>
            <a:r>
              <a:rPr lang="en-US" sz="2000" baseline="-25000" dirty="0">
                <a:solidFill>
                  <a:srgbClr val="D0D8D7"/>
                </a:solidFill>
                <a:latin typeface="Malgun Gothic" panose="020B0503020000020004" pitchFamily="34" charset="-127"/>
                <a:ea typeface="Malgun Gothic" panose="020B0503020000020004" pitchFamily="34" charset="-127"/>
              </a:rPr>
              <a:t>0 </a:t>
            </a:r>
            <a:r>
              <a:rPr lang="en-US" sz="2000" dirty="0">
                <a:solidFill>
                  <a:srgbClr val="D0D8D7"/>
                </a:solidFill>
                <a:latin typeface="Malgun Gothic" panose="020B0503020000020004" pitchFamily="34" charset="-127"/>
                <a:ea typeface="Malgun Gothic" panose="020B0503020000020004" pitchFamily="34" charset="-127"/>
              </a:rPr>
              <a:t>trends</a:t>
            </a:r>
            <a:endParaRPr lang="en-GB" sz="2000" dirty="0">
              <a:solidFill>
                <a:srgbClr val="D0D8D7"/>
              </a:solidFill>
              <a:latin typeface="Malgun Gothic" panose="020B0503020000020004" pitchFamily="34" charset="-127"/>
              <a:ea typeface="Malgun Gothic" panose="020B0503020000020004" pitchFamily="34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65788049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lowchart: Card 8">
            <a:extLst>
              <a:ext uri="{FF2B5EF4-FFF2-40B4-BE49-F238E27FC236}">
                <a16:creationId xmlns:a16="http://schemas.microsoft.com/office/drawing/2014/main" id="{1DC6A09E-2B86-4E6D-8C2C-22FBDF38B693}"/>
              </a:ext>
            </a:extLst>
          </p:cNvPr>
          <p:cNvSpPr/>
          <p:nvPr/>
        </p:nvSpPr>
        <p:spPr>
          <a:xfrm rot="10800000">
            <a:off x="9210395" y="4435474"/>
            <a:ext cx="2644288" cy="1787262"/>
          </a:xfrm>
          <a:custGeom>
            <a:avLst/>
            <a:gdLst>
              <a:gd name="connsiteX0" fmla="*/ 0 w 10000"/>
              <a:gd name="connsiteY0" fmla="*/ 2000 h 10000"/>
              <a:gd name="connsiteX1" fmla="*/ 2000 w 10000"/>
              <a:gd name="connsiteY1" fmla="*/ 0 h 10000"/>
              <a:gd name="connsiteX2" fmla="*/ 10000 w 10000"/>
              <a:gd name="connsiteY2" fmla="*/ 0 h 10000"/>
              <a:gd name="connsiteX3" fmla="*/ 10000 w 10000"/>
              <a:gd name="connsiteY3" fmla="*/ 10000 h 10000"/>
              <a:gd name="connsiteX4" fmla="*/ 0 w 10000"/>
              <a:gd name="connsiteY4" fmla="*/ 10000 h 10000"/>
              <a:gd name="connsiteX5" fmla="*/ 0 w 10000"/>
              <a:gd name="connsiteY5" fmla="*/ 2000 h 10000"/>
              <a:gd name="connsiteX0" fmla="*/ 91 w 10000"/>
              <a:gd name="connsiteY0" fmla="*/ 3209 h 10000"/>
              <a:gd name="connsiteX1" fmla="*/ 2000 w 10000"/>
              <a:gd name="connsiteY1" fmla="*/ 0 h 10000"/>
              <a:gd name="connsiteX2" fmla="*/ 10000 w 10000"/>
              <a:gd name="connsiteY2" fmla="*/ 0 h 10000"/>
              <a:gd name="connsiteX3" fmla="*/ 10000 w 10000"/>
              <a:gd name="connsiteY3" fmla="*/ 10000 h 10000"/>
              <a:gd name="connsiteX4" fmla="*/ 0 w 10000"/>
              <a:gd name="connsiteY4" fmla="*/ 10000 h 10000"/>
              <a:gd name="connsiteX5" fmla="*/ 91 w 10000"/>
              <a:gd name="connsiteY5" fmla="*/ 3209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00" h="10000">
                <a:moveTo>
                  <a:pt x="91" y="3209"/>
                </a:moveTo>
                <a:lnTo>
                  <a:pt x="2000" y="0"/>
                </a:lnTo>
                <a:lnTo>
                  <a:pt x="10000" y="0"/>
                </a:lnTo>
                <a:lnTo>
                  <a:pt x="10000" y="10000"/>
                </a:lnTo>
                <a:lnTo>
                  <a:pt x="0" y="10000"/>
                </a:lnTo>
                <a:cubicBezTo>
                  <a:pt x="30" y="7736"/>
                  <a:pt x="61" y="5473"/>
                  <a:pt x="91" y="3209"/>
                </a:cubicBezTo>
                <a:close/>
              </a:path>
            </a:pathLst>
          </a:custGeom>
          <a:solidFill>
            <a:schemeClr val="accent4">
              <a:lumMod val="40000"/>
              <a:lumOff val="60000"/>
            </a:schemeClr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GB" sz="13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490EE45-C134-4609-8615-545CD200CFD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947739" y="6478588"/>
            <a:ext cx="10296524" cy="180000"/>
          </a:xfrm>
        </p:spPr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en-US"/>
              <a:t>Max Planck Institute for demographic research                                                                                                                                                                               SEASONAL MORTALITY IN EUROPE | 26/09/2024</a:t>
            </a:r>
            <a:endParaRPr lang="de-DE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75C812D-55F7-4931-A191-CDEB7A86197D}"/>
              </a:ext>
            </a:extLst>
          </p:cNvPr>
          <p:cNvSpPr txBox="1"/>
          <p:nvPr/>
        </p:nvSpPr>
        <p:spPr>
          <a:xfrm>
            <a:off x="464314" y="393698"/>
            <a:ext cx="9929646" cy="615553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r>
              <a:rPr lang="en-US" sz="2000" b="1" dirty="0">
                <a:solidFill>
                  <a:schemeClr val="tx2"/>
                </a:solidFill>
                <a:latin typeface="Malgun Gothic" panose="020B0503020000020004" pitchFamily="34" charset="-127"/>
                <a:ea typeface="Malgun Gothic" panose="020B0503020000020004" pitchFamily="34" charset="-127"/>
              </a:rPr>
              <a:t>Losses due to season-specific excess mortality to annual life expectancy at birth, European countries, 2000-2019</a:t>
            </a:r>
            <a:endParaRPr lang="en-GB" sz="2000" b="1" dirty="0" err="1">
              <a:solidFill>
                <a:schemeClr val="tx2"/>
              </a:solidFill>
              <a:latin typeface="Malgun Gothic" panose="020B0503020000020004" pitchFamily="34" charset="-127"/>
              <a:ea typeface="Malgun Gothic" panose="020B0503020000020004" pitchFamily="34" charset="-127"/>
            </a:endParaRPr>
          </a:p>
        </p:txBody>
      </p:sp>
      <p:sp>
        <p:nvSpPr>
          <p:cNvPr id="7" name="Flowchart: Card 6">
            <a:extLst>
              <a:ext uri="{FF2B5EF4-FFF2-40B4-BE49-F238E27FC236}">
                <a16:creationId xmlns:a16="http://schemas.microsoft.com/office/drawing/2014/main" id="{62D61C94-F550-44D5-B313-44B2B0A090C0}"/>
              </a:ext>
            </a:extLst>
          </p:cNvPr>
          <p:cNvSpPr/>
          <p:nvPr/>
        </p:nvSpPr>
        <p:spPr>
          <a:xfrm rot="10800000">
            <a:off x="9210395" y="1084907"/>
            <a:ext cx="2644288" cy="3182392"/>
          </a:xfrm>
          <a:custGeom>
            <a:avLst/>
            <a:gdLst>
              <a:gd name="connsiteX0" fmla="*/ 0 w 10000"/>
              <a:gd name="connsiteY0" fmla="*/ 2000 h 10000"/>
              <a:gd name="connsiteX1" fmla="*/ 2000 w 10000"/>
              <a:gd name="connsiteY1" fmla="*/ 0 h 10000"/>
              <a:gd name="connsiteX2" fmla="*/ 10000 w 10000"/>
              <a:gd name="connsiteY2" fmla="*/ 0 h 10000"/>
              <a:gd name="connsiteX3" fmla="*/ 10000 w 10000"/>
              <a:gd name="connsiteY3" fmla="*/ 10000 h 10000"/>
              <a:gd name="connsiteX4" fmla="*/ 0 w 10000"/>
              <a:gd name="connsiteY4" fmla="*/ 10000 h 10000"/>
              <a:gd name="connsiteX5" fmla="*/ 0 w 10000"/>
              <a:gd name="connsiteY5" fmla="*/ 2000 h 10000"/>
              <a:gd name="connsiteX0" fmla="*/ 0 w 10046"/>
              <a:gd name="connsiteY0" fmla="*/ 1419 h 10000"/>
              <a:gd name="connsiteX1" fmla="*/ 2046 w 10046"/>
              <a:gd name="connsiteY1" fmla="*/ 0 h 10000"/>
              <a:gd name="connsiteX2" fmla="*/ 10046 w 10046"/>
              <a:gd name="connsiteY2" fmla="*/ 0 h 10000"/>
              <a:gd name="connsiteX3" fmla="*/ 10046 w 10046"/>
              <a:gd name="connsiteY3" fmla="*/ 10000 h 10000"/>
              <a:gd name="connsiteX4" fmla="*/ 46 w 10046"/>
              <a:gd name="connsiteY4" fmla="*/ 10000 h 10000"/>
              <a:gd name="connsiteX5" fmla="*/ 0 w 10046"/>
              <a:gd name="connsiteY5" fmla="*/ 1419 h 10000"/>
              <a:gd name="connsiteX0" fmla="*/ 47 w 10002"/>
              <a:gd name="connsiteY0" fmla="*/ 1751 h 10000"/>
              <a:gd name="connsiteX1" fmla="*/ 2002 w 10002"/>
              <a:gd name="connsiteY1" fmla="*/ 0 h 10000"/>
              <a:gd name="connsiteX2" fmla="*/ 10002 w 10002"/>
              <a:gd name="connsiteY2" fmla="*/ 0 h 10000"/>
              <a:gd name="connsiteX3" fmla="*/ 10002 w 10002"/>
              <a:gd name="connsiteY3" fmla="*/ 10000 h 10000"/>
              <a:gd name="connsiteX4" fmla="*/ 2 w 10002"/>
              <a:gd name="connsiteY4" fmla="*/ 10000 h 10000"/>
              <a:gd name="connsiteX5" fmla="*/ 47 w 10002"/>
              <a:gd name="connsiteY5" fmla="*/ 1751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02" h="10000">
                <a:moveTo>
                  <a:pt x="47" y="1751"/>
                </a:moveTo>
                <a:lnTo>
                  <a:pt x="2002" y="0"/>
                </a:lnTo>
                <a:lnTo>
                  <a:pt x="10002" y="0"/>
                </a:lnTo>
                <a:lnTo>
                  <a:pt x="10002" y="10000"/>
                </a:lnTo>
                <a:lnTo>
                  <a:pt x="2" y="10000"/>
                </a:lnTo>
                <a:cubicBezTo>
                  <a:pt x="-13" y="7140"/>
                  <a:pt x="62" y="4611"/>
                  <a:pt x="47" y="1751"/>
                </a:cubicBezTo>
                <a:close/>
              </a:path>
            </a:pathLst>
          </a:custGeom>
          <a:solidFill>
            <a:schemeClr val="accent4">
              <a:lumMod val="40000"/>
              <a:lumOff val="60000"/>
            </a:schemeClr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GB" sz="13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566DE1B7-FFE1-4A57-8EF5-C31DF0847BD7}"/>
              </a:ext>
            </a:extLst>
          </p:cNvPr>
          <p:cNvSpPr txBox="1"/>
          <p:nvPr/>
        </p:nvSpPr>
        <p:spPr>
          <a:xfrm>
            <a:off x="9337397" y="1141629"/>
            <a:ext cx="2390289" cy="3046988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marL="180000" indent="-180000">
              <a:buFont typeface="Arial" panose="020B0604020202020204" pitchFamily="34" charset="0"/>
              <a:buChar char="•"/>
            </a:pPr>
            <a:r>
              <a:rPr lang="en-US" b="1" dirty="0">
                <a:solidFill>
                  <a:srgbClr val="0070C0"/>
                </a:solidFill>
                <a:latin typeface="Malgun Gothic" panose="020B0503020000020004" pitchFamily="34" charset="-127"/>
                <a:ea typeface="Malgun Gothic" panose="020B0503020000020004" pitchFamily="34" charset="-127"/>
              </a:rPr>
              <a:t>Wintertime</a:t>
            </a:r>
            <a:r>
              <a:rPr lang="en-US" dirty="0">
                <a:latin typeface="Malgun Gothic" panose="020B0503020000020004" pitchFamily="34" charset="-127"/>
                <a:ea typeface="Malgun Gothic" panose="020B0503020000020004" pitchFamily="34" charset="-127"/>
              </a:rPr>
              <a:t> most significant losses (0.6 years average) and highest variations across countries (var = 0.15 years)</a:t>
            </a:r>
          </a:p>
          <a:p>
            <a:pPr marL="180000" indent="-180000">
              <a:buFont typeface="Arial" panose="020B0604020202020204" pitchFamily="34" charset="0"/>
              <a:buChar char="•"/>
            </a:pPr>
            <a:r>
              <a:rPr lang="en-US" b="1" dirty="0">
                <a:solidFill>
                  <a:srgbClr val="C00000"/>
                </a:solidFill>
                <a:latin typeface="Malgun Gothic" panose="020B0503020000020004" pitchFamily="34" charset="-127"/>
                <a:ea typeface="Malgun Gothic" panose="020B0503020000020004" pitchFamily="34" charset="-127"/>
              </a:rPr>
              <a:t>Summers</a:t>
            </a:r>
            <a:r>
              <a:rPr lang="en-US" dirty="0">
                <a:latin typeface="Malgun Gothic" panose="020B0503020000020004" pitchFamily="34" charset="-127"/>
                <a:ea typeface="Malgun Gothic" panose="020B0503020000020004" pitchFamily="34" charset="-127"/>
              </a:rPr>
              <a:t> had a minor relevance for annual life expectancy and less heterogeneity</a:t>
            </a:r>
            <a:endParaRPr lang="en-GB" dirty="0">
              <a:latin typeface="Malgun Gothic" panose="020B0503020000020004" pitchFamily="34" charset="-127"/>
              <a:ea typeface="Malgun Gothic" panose="020B0503020000020004" pitchFamily="34" charset="-127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865BEB4-6EF2-45DD-9ACE-4A15CFDC35D2}"/>
              </a:ext>
            </a:extLst>
          </p:cNvPr>
          <p:cNvSpPr txBox="1"/>
          <p:nvPr/>
        </p:nvSpPr>
        <p:spPr>
          <a:xfrm>
            <a:off x="9280187" y="4523150"/>
            <a:ext cx="2447500" cy="1661993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marL="180000" indent="-180000">
              <a:buFont typeface="Arial" panose="020B0604020202020204" pitchFamily="34" charset="0"/>
              <a:buChar char="•"/>
            </a:pPr>
            <a:r>
              <a:rPr lang="en-US" dirty="0">
                <a:latin typeface="Malgun Gothic" panose="020B0503020000020004" pitchFamily="34" charset="-127"/>
                <a:ea typeface="Malgun Gothic" panose="020B0503020000020004" pitchFamily="34" charset="-127"/>
              </a:rPr>
              <a:t>Highest winter mortality shocks Portugal (1.2 years), Latvia and Bulgaria (1.1 years)</a:t>
            </a:r>
          </a:p>
          <a:p>
            <a:pPr marL="180000" indent="-180000">
              <a:buFont typeface="Arial" panose="020B0604020202020204" pitchFamily="34" charset="0"/>
              <a:buChar char="•"/>
            </a:pPr>
            <a:r>
              <a:rPr lang="en-US" dirty="0">
                <a:latin typeface="Malgun Gothic" panose="020B0503020000020004" pitchFamily="34" charset="-127"/>
                <a:ea typeface="Malgun Gothic" panose="020B0503020000020004" pitchFamily="34" charset="-127"/>
              </a:rPr>
              <a:t>No trend</a:t>
            </a:r>
            <a:endParaRPr lang="en-GB" dirty="0" err="1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E742F3A-EE83-452E-93C2-431F990CE8AB}"/>
              </a:ext>
            </a:extLst>
          </p:cNvPr>
          <p:cNvSpPr txBox="1"/>
          <p:nvPr/>
        </p:nvSpPr>
        <p:spPr>
          <a:xfrm>
            <a:off x="636265" y="1354356"/>
            <a:ext cx="1150070" cy="267894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 anchor="t" anchorCtr="0">
            <a:spAutoFit/>
          </a:bodyPr>
          <a:lstStyle/>
          <a:p>
            <a:pPr algn="ctr">
              <a:lnSpc>
                <a:spcPts val="2300"/>
              </a:lnSpc>
              <a:spcBef>
                <a:spcPts val="1150"/>
              </a:spcBef>
            </a:pPr>
            <a:r>
              <a:rPr lang="en-US" sz="1600" b="1" dirty="0">
                <a:solidFill>
                  <a:srgbClr val="3288BD"/>
                </a:solidFill>
                <a:latin typeface="Malgun Gothic" panose="020B0503020000020004" pitchFamily="34" charset="-127"/>
                <a:ea typeface="Malgun Gothic" panose="020B0503020000020004" pitchFamily="34" charset="-127"/>
              </a:rPr>
              <a:t>WINTER</a:t>
            </a:r>
            <a:endParaRPr lang="en-GB" sz="1600" b="1" dirty="0" err="1">
              <a:solidFill>
                <a:srgbClr val="3288BD"/>
              </a:solidFill>
              <a:latin typeface="Malgun Gothic" panose="020B0503020000020004" pitchFamily="34" charset="-127"/>
              <a:ea typeface="Malgun Gothic" panose="020B0503020000020004" pitchFamily="34" charset="-127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78DAD9D-3EBF-4047-AF8A-CB1E0949F49E}"/>
              </a:ext>
            </a:extLst>
          </p:cNvPr>
          <p:cNvSpPr txBox="1"/>
          <p:nvPr/>
        </p:nvSpPr>
        <p:spPr>
          <a:xfrm>
            <a:off x="4668337" y="1368795"/>
            <a:ext cx="1150070" cy="267894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 anchor="t" anchorCtr="0">
            <a:spAutoFit/>
          </a:bodyPr>
          <a:lstStyle/>
          <a:p>
            <a:pPr algn="ctr">
              <a:lnSpc>
                <a:spcPts val="2300"/>
              </a:lnSpc>
              <a:spcBef>
                <a:spcPts val="1150"/>
              </a:spcBef>
            </a:pPr>
            <a:r>
              <a:rPr lang="en-US" sz="1600" b="1" dirty="0">
                <a:solidFill>
                  <a:srgbClr val="22B473"/>
                </a:solidFill>
                <a:latin typeface="Malgun Gothic" panose="020B0503020000020004" pitchFamily="34" charset="-127"/>
                <a:ea typeface="Malgun Gothic" panose="020B0503020000020004" pitchFamily="34" charset="-127"/>
              </a:rPr>
              <a:t>SPRING</a:t>
            </a:r>
            <a:endParaRPr lang="en-GB" sz="1600" b="1" dirty="0" err="1">
              <a:solidFill>
                <a:srgbClr val="22B473"/>
              </a:solidFill>
              <a:latin typeface="Malgun Gothic" panose="020B0503020000020004" pitchFamily="34" charset="-127"/>
              <a:ea typeface="Malgun Gothic" panose="020B0503020000020004" pitchFamily="34" charset="-127"/>
            </a:endParaRP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03D7C3B4-7AF4-476F-8798-CDC30B79E509}"/>
              </a:ext>
            </a:extLst>
          </p:cNvPr>
          <p:cNvGrpSpPr/>
          <p:nvPr/>
        </p:nvGrpSpPr>
        <p:grpSpPr>
          <a:xfrm>
            <a:off x="464314" y="1673594"/>
            <a:ext cx="8566597" cy="4819433"/>
            <a:chOff x="209758" y="659853"/>
            <a:chExt cx="11924884" cy="6155813"/>
          </a:xfrm>
        </p:grpSpPr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16026AF0-E54E-4D93-9F6D-B1DA7511D5F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1720" t="9117" r="50033"/>
            <a:stretch/>
          </p:blipFill>
          <p:spPr>
            <a:xfrm>
              <a:off x="209758" y="659853"/>
              <a:ext cx="5882197" cy="6155813"/>
            </a:xfrm>
            <a:prstGeom prst="rect">
              <a:avLst/>
            </a:prstGeom>
          </p:spPr>
        </p:pic>
        <p:pic>
          <p:nvPicPr>
            <p:cNvPr id="18" name="Picture 17">
              <a:extLst>
                <a:ext uri="{FF2B5EF4-FFF2-40B4-BE49-F238E27FC236}">
                  <a16:creationId xmlns:a16="http://schemas.microsoft.com/office/drawing/2014/main" id="{28BF665C-BCA6-405F-BF5B-BFF53428E36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51692" t="9117"/>
            <a:stretch/>
          </p:blipFill>
          <p:spPr>
            <a:xfrm>
              <a:off x="6244914" y="659854"/>
              <a:ext cx="5889728" cy="6155812"/>
            </a:xfrm>
            <a:prstGeom prst="rect">
              <a:avLst/>
            </a:prstGeom>
          </p:spPr>
        </p:pic>
      </p:grpSp>
      <p:sp>
        <p:nvSpPr>
          <p:cNvPr id="12" name="TextBox 11">
            <a:extLst>
              <a:ext uri="{FF2B5EF4-FFF2-40B4-BE49-F238E27FC236}">
                <a16:creationId xmlns:a16="http://schemas.microsoft.com/office/drawing/2014/main" id="{1A6E112A-33AD-4792-A3EC-D361CD5CB44A}"/>
              </a:ext>
            </a:extLst>
          </p:cNvPr>
          <p:cNvSpPr txBox="1"/>
          <p:nvPr/>
        </p:nvSpPr>
        <p:spPr>
          <a:xfrm>
            <a:off x="636873" y="3915052"/>
            <a:ext cx="1150070" cy="267894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 anchor="t" anchorCtr="0">
            <a:spAutoFit/>
          </a:bodyPr>
          <a:lstStyle/>
          <a:p>
            <a:pPr algn="ctr">
              <a:lnSpc>
                <a:spcPts val="2300"/>
              </a:lnSpc>
              <a:spcBef>
                <a:spcPts val="1150"/>
              </a:spcBef>
            </a:pPr>
            <a:r>
              <a:rPr lang="en-US" sz="1600" b="1" dirty="0">
                <a:solidFill>
                  <a:srgbClr val="D53E4F"/>
                </a:solidFill>
                <a:latin typeface="Malgun Gothic" panose="020B0503020000020004" pitchFamily="34" charset="-127"/>
                <a:ea typeface="Malgun Gothic" panose="020B0503020000020004" pitchFamily="34" charset="-127"/>
              </a:rPr>
              <a:t>SUMMER</a:t>
            </a:r>
            <a:endParaRPr lang="en-GB" sz="1600" b="1" dirty="0" err="1">
              <a:solidFill>
                <a:srgbClr val="D53E4F"/>
              </a:solidFill>
              <a:latin typeface="Malgun Gothic" panose="020B0503020000020004" pitchFamily="34" charset="-127"/>
              <a:ea typeface="Malgun Gothic" panose="020B0503020000020004" pitchFamily="34" charset="-127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9F91D06F-C362-44E3-B3D4-F0DF0DDCDD77}"/>
              </a:ext>
            </a:extLst>
          </p:cNvPr>
          <p:cNvSpPr txBox="1"/>
          <p:nvPr/>
        </p:nvSpPr>
        <p:spPr>
          <a:xfrm>
            <a:off x="4759505" y="3889007"/>
            <a:ext cx="1150070" cy="267894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 anchor="t" anchorCtr="0">
            <a:spAutoFit/>
          </a:bodyPr>
          <a:lstStyle/>
          <a:p>
            <a:pPr algn="ctr">
              <a:lnSpc>
                <a:spcPts val="2300"/>
              </a:lnSpc>
              <a:spcBef>
                <a:spcPts val="1150"/>
              </a:spcBef>
            </a:pPr>
            <a:r>
              <a:rPr lang="en-US" sz="1600" b="1" dirty="0">
                <a:solidFill>
                  <a:schemeClr val="accent6">
                    <a:lumMod val="75000"/>
                  </a:schemeClr>
                </a:solidFill>
                <a:latin typeface="Malgun Gothic" panose="020B0503020000020004" pitchFamily="34" charset="-127"/>
                <a:ea typeface="Malgun Gothic" panose="020B0503020000020004" pitchFamily="34" charset="-127"/>
              </a:rPr>
              <a:t>AUTUMN</a:t>
            </a:r>
            <a:endParaRPr lang="en-GB" sz="1600" b="1" dirty="0" err="1">
              <a:solidFill>
                <a:schemeClr val="accent6">
                  <a:lumMod val="75000"/>
                </a:schemeClr>
              </a:solidFill>
              <a:latin typeface="Malgun Gothic" panose="020B0503020000020004" pitchFamily="34" charset="-127"/>
              <a:ea typeface="Malgun Gothic" panose="020B0503020000020004" pitchFamily="34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49035082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7" grpId="0" animBg="1"/>
      <p:bldP spid="2" grpId="0"/>
      <p:bldP spid="8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AC3B00C-2F0F-49BC-B548-DEC18D272B1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en-US"/>
              <a:t>Max Planck Institute for demographic research                                                                                                                                                                               SEASONAL MORTALITY IN EUROPE | 26/09/2024</a:t>
            </a:r>
            <a:endParaRPr lang="de-DE" dirty="0"/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FE15280F-4E1D-4669-BDC3-AC9AF2AE0042}"/>
              </a:ext>
            </a:extLst>
          </p:cNvPr>
          <p:cNvSpPr/>
          <p:nvPr/>
        </p:nvSpPr>
        <p:spPr>
          <a:xfrm>
            <a:off x="4290658" y="2149217"/>
            <a:ext cx="1770958" cy="678844"/>
          </a:xfrm>
          <a:custGeom>
            <a:avLst/>
            <a:gdLst>
              <a:gd name="connsiteX0" fmla="*/ 0 w 3027543"/>
              <a:gd name="connsiteY0" fmla="*/ 75689 h 756885"/>
              <a:gd name="connsiteX1" fmla="*/ 75689 w 3027543"/>
              <a:gd name="connsiteY1" fmla="*/ 0 h 756885"/>
              <a:gd name="connsiteX2" fmla="*/ 2951855 w 3027543"/>
              <a:gd name="connsiteY2" fmla="*/ 0 h 756885"/>
              <a:gd name="connsiteX3" fmla="*/ 3027544 w 3027543"/>
              <a:gd name="connsiteY3" fmla="*/ 75689 h 756885"/>
              <a:gd name="connsiteX4" fmla="*/ 3027543 w 3027543"/>
              <a:gd name="connsiteY4" fmla="*/ 681197 h 756885"/>
              <a:gd name="connsiteX5" fmla="*/ 2951854 w 3027543"/>
              <a:gd name="connsiteY5" fmla="*/ 756886 h 756885"/>
              <a:gd name="connsiteX6" fmla="*/ 75689 w 3027543"/>
              <a:gd name="connsiteY6" fmla="*/ 756885 h 756885"/>
              <a:gd name="connsiteX7" fmla="*/ 0 w 3027543"/>
              <a:gd name="connsiteY7" fmla="*/ 681196 h 756885"/>
              <a:gd name="connsiteX8" fmla="*/ 0 w 3027543"/>
              <a:gd name="connsiteY8" fmla="*/ 75689 h 7568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027543" h="756885">
                <a:moveTo>
                  <a:pt x="0" y="75689"/>
                </a:moveTo>
                <a:cubicBezTo>
                  <a:pt x="0" y="33887"/>
                  <a:pt x="33887" y="0"/>
                  <a:pt x="75689" y="0"/>
                </a:cubicBezTo>
                <a:lnTo>
                  <a:pt x="2951855" y="0"/>
                </a:lnTo>
                <a:cubicBezTo>
                  <a:pt x="2993657" y="0"/>
                  <a:pt x="3027544" y="33887"/>
                  <a:pt x="3027544" y="75689"/>
                </a:cubicBezTo>
                <a:cubicBezTo>
                  <a:pt x="3027544" y="277525"/>
                  <a:pt x="3027543" y="479361"/>
                  <a:pt x="3027543" y="681197"/>
                </a:cubicBezTo>
                <a:cubicBezTo>
                  <a:pt x="3027543" y="722999"/>
                  <a:pt x="2993656" y="756886"/>
                  <a:pt x="2951854" y="756886"/>
                </a:cubicBezTo>
                <a:lnTo>
                  <a:pt x="75689" y="756885"/>
                </a:lnTo>
                <a:cubicBezTo>
                  <a:pt x="33887" y="756885"/>
                  <a:pt x="0" y="722998"/>
                  <a:pt x="0" y="681196"/>
                </a:cubicBezTo>
                <a:lnTo>
                  <a:pt x="0" y="75689"/>
                </a:lnTo>
                <a:close/>
              </a:path>
            </a:pathLst>
          </a:custGeom>
          <a:solidFill>
            <a:schemeClr val="accent4">
              <a:lumMod val="75000"/>
              <a:alpha val="90000"/>
            </a:schemeClr>
          </a:solidFill>
          <a:ln>
            <a:noFill/>
          </a:ln>
        </p:spPr>
        <p:style>
          <a:lnRef idx="2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79318" tIns="79318" rIns="79318" bIns="79318" numCol="1" spcCol="1270" anchor="ctr" anchorCtr="0">
            <a:noAutofit/>
          </a:bodyPr>
          <a:lstStyle/>
          <a:p>
            <a:pPr lvl="0" algn="ctr" defTabSz="20002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2000" kern="1200" dirty="0">
                <a:latin typeface="Malgun Gothic" panose="020B0503020000020004" pitchFamily="34" charset="-127"/>
                <a:ea typeface="Malgun Gothic" panose="020B0503020000020004" pitchFamily="34" charset="-127"/>
              </a:rPr>
              <a:t>Annual and seasonal </a:t>
            </a:r>
            <a:r>
              <a:rPr lang="en-US" sz="2000" dirty="0"/>
              <a:t>e</a:t>
            </a:r>
            <a:r>
              <a:rPr lang="en-US" sz="2000" baseline="-25000" dirty="0"/>
              <a:t>0</a:t>
            </a:r>
            <a:endParaRPr lang="en-GB" sz="2000" kern="1200" dirty="0">
              <a:latin typeface="Malgun Gothic" panose="020B0503020000020004" pitchFamily="34" charset="-127"/>
              <a:ea typeface="Malgun Gothic" panose="020B0503020000020004" pitchFamily="34" charset="-127"/>
            </a:endParaRPr>
          </a:p>
        </p:txBody>
      </p: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4F7EA699-9477-46F4-A39E-2E9AB633DBDA}"/>
              </a:ext>
            </a:extLst>
          </p:cNvPr>
          <p:cNvSpPr/>
          <p:nvPr/>
        </p:nvSpPr>
        <p:spPr>
          <a:xfrm>
            <a:off x="947739" y="2650308"/>
            <a:ext cx="2502471" cy="756885"/>
          </a:xfrm>
          <a:custGeom>
            <a:avLst/>
            <a:gdLst>
              <a:gd name="connsiteX0" fmla="*/ 0 w 3027543"/>
              <a:gd name="connsiteY0" fmla="*/ 75689 h 756885"/>
              <a:gd name="connsiteX1" fmla="*/ 75689 w 3027543"/>
              <a:gd name="connsiteY1" fmla="*/ 0 h 756885"/>
              <a:gd name="connsiteX2" fmla="*/ 2951855 w 3027543"/>
              <a:gd name="connsiteY2" fmla="*/ 0 h 756885"/>
              <a:gd name="connsiteX3" fmla="*/ 3027544 w 3027543"/>
              <a:gd name="connsiteY3" fmla="*/ 75689 h 756885"/>
              <a:gd name="connsiteX4" fmla="*/ 3027543 w 3027543"/>
              <a:gd name="connsiteY4" fmla="*/ 681197 h 756885"/>
              <a:gd name="connsiteX5" fmla="*/ 2951854 w 3027543"/>
              <a:gd name="connsiteY5" fmla="*/ 756886 h 756885"/>
              <a:gd name="connsiteX6" fmla="*/ 75689 w 3027543"/>
              <a:gd name="connsiteY6" fmla="*/ 756885 h 756885"/>
              <a:gd name="connsiteX7" fmla="*/ 0 w 3027543"/>
              <a:gd name="connsiteY7" fmla="*/ 681196 h 756885"/>
              <a:gd name="connsiteX8" fmla="*/ 0 w 3027543"/>
              <a:gd name="connsiteY8" fmla="*/ 75689 h 7568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027543" h="756885">
                <a:moveTo>
                  <a:pt x="0" y="75689"/>
                </a:moveTo>
                <a:cubicBezTo>
                  <a:pt x="0" y="33887"/>
                  <a:pt x="33887" y="0"/>
                  <a:pt x="75689" y="0"/>
                </a:cubicBezTo>
                <a:lnTo>
                  <a:pt x="2951855" y="0"/>
                </a:lnTo>
                <a:cubicBezTo>
                  <a:pt x="2993657" y="0"/>
                  <a:pt x="3027544" y="33887"/>
                  <a:pt x="3027544" y="75689"/>
                </a:cubicBezTo>
                <a:cubicBezTo>
                  <a:pt x="3027544" y="277525"/>
                  <a:pt x="3027543" y="479361"/>
                  <a:pt x="3027543" y="681197"/>
                </a:cubicBezTo>
                <a:cubicBezTo>
                  <a:pt x="3027543" y="722999"/>
                  <a:pt x="2993656" y="756886"/>
                  <a:pt x="2951854" y="756886"/>
                </a:cubicBezTo>
                <a:lnTo>
                  <a:pt x="75689" y="756885"/>
                </a:lnTo>
                <a:cubicBezTo>
                  <a:pt x="33887" y="756885"/>
                  <a:pt x="0" y="722998"/>
                  <a:pt x="0" y="681196"/>
                </a:cubicBezTo>
                <a:lnTo>
                  <a:pt x="0" y="75689"/>
                </a:ln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47568" tIns="47568" rIns="47568" bIns="47568" numCol="1" spcCol="1270" anchor="ctr" anchorCtr="0">
            <a:noAutofit/>
          </a:bodyPr>
          <a:lstStyle/>
          <a:p>
            <a:pPr marL="0" lvl="0" indent="0" algn="ctr" defTabSz="8890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2000" kern="1200" dirty="0">
                <a:latin typeface="Malgun Gothic" panose="020B0503020000020004" pitchFamily="34" charset="-127"/>
                <a:ea typeface="Malgun Gothic" panose="020B0503020000020004" pitchFamily="34" charset="-127"/>
              </a:rPr>
              <a:t>Weekly mortality data from the HMD</a:t>
            </a:r>
            <a:endParaRPr lang="en-GB" sz="2000" kern="1200" dirty="0">
              <a:latin typeface="Malgun Gothic" panose="020B0503020000020004" pitchFamily="34" charset="-127"/>
              <a:ea typeface="Malgun Gothic" panose="020B0503020000020004" pitchFamily="34" charset="-127"/>
            </a:endParaRPr>
          </a:p>
        </p:txBody>
      </p:sp>
      <p:sp>
        <p:nvSpPr>
          <p:cNvPr id="7" name="Freeform: Shape 6">
            <a:extLst>
              <a:ext uri="{FF2B5EF4-FFF2-40B4-BE49-F238E27FC236}">
                <a16:creationId xmlns:a16="http://schemas.microsoft.com/office/drawing/2014/main" id="{4F27A411-96F2-4CD5-9BE4-5A8071B9BC33}"/>
              </a:ext>
            </a:extLst>
          </p:cNvPr>
          <p:cNvSpPr/>
          <p:nvPr/>
        </p:nvSpPr>
        <p:spPr>
          <a:xfrm>
            <a:off x="4285921" y="3293969"/>
            <a:ext cx="1770958" cy="563967"/>
          </a:xfrm>
          <a:custGeom>
            <a:avLst/>
            <a:gdLst>
              <a:gd name="connsiteX0" fmla="*/ 0 w 3027543"/>
              <a:gd name="connsiteY0" fmla="*/ 75689 h 756885"/>
              <a:gd name="connsiteX1" fmla="*/ 75689 w 3027543"/>
              <a:gd name="connsiteY1" fmla="*/ 0 h 756885"/>
              <a:gd name="connsiteX2" fmla="*/ 2951855 w 3027543"/>
              <a:gd name="connsiteY2" fmla="*/ 0 h 756885"/>
              <a:gd name="connsiteX3" fmla="*/ 3027544 w 3027543"/>
              <a:gd name="connsiteY3" fmla="*/ 75689 h 756885"/>
              <a:gd name="connsiteX4" fmla="*/ 3027543 w 3027543"/>
              <a:gd name="connsiteY4" fmla="*/ 681197 h 756885"/>
              <a:gd name="connsiteX5" fmla="*/ 2951854 w 3027543"/>
              <a:gd name="connsiteY5" fmla="*/ 756886 h 756885"/>
              <a:gd name="connsiteX6" fmla="*/ 75689 w 3027543"/>
              <a:gd name="connsiteY6" fmla="*/ 756885 h 756885"/>
              <a:gd name="connsiteX7" fmla="*/ 0 w 3027543"/>
              <a:gd name="connsiteY7" fmla="*/ 681196 h 756885"/>
              <a:gd name="connsiteX8" fmla="*/ 0 w 3027543"/>
              <a:gd name="connsiteY8" fmla="*/ 75689 h 7568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027543" h="756885">
                <a:moveTo>
                  <a:pt x="0" y="75689"/>
                </a:moveTo>
                <a:cubicBezTo>
                  <a:pt x="0" y="33887"/>
                  <a:pt x="33887" y="0"/>
                  <a:pt x="75689" y="0"/>
                </a:cubicBezTo>
                <a:lnTo>
                  <a:pt x="2951855" y="0"/>
                </a:lnTo>
                <a:cubicBezTo>
                  <a:pt x="2993657" y="0"/>
                  <a:pt x="3027544" y="33887"/>
                  <a:pt x="3027544" y="75689"/>
                </a:cubicBezTo>
                <a:cubicBezTo>
                  <a:pt x="3027544" y="277525"/>
                  <a:pt x="3027543" y="479361"/>
                  <a:pt x="3027543" y="681197"/>
                </a:cubicBezTo>
                <a:cubicBezTo>
                  <a:pt x="3027543" y="722999"/>
                  <a:pt x="2993656" y="756886"/>
                  <a:pt x="2951854" y="756886"/>
                </a:cubicBezTo>
                <a:lnTo>
                  <a:pt x="75689" y="756885"/>
                </a:lnTo>
                <a:cubicBezTo>
                  <a:pt x="33887" y="756885"/>
                  <a:pt x="0" y="722998"/>
                  <a:pt x="0" y="681196"/>
                </a:cubicBezTo>
                <a:lnTo>
                  <a:pt x="0" y="75689"/>
                </a:lnTo>
                <a:close/>
              </a:path>
            </a:pathLst>
          </a:custGeom>
          <a:solidFill>
            <a:schemeClr val="accent4">
              <a:lumMod val="75000"/>
              <a:alpha val="90000"/>
            </a:schemeClr>
          </a:solidFill>
          <a:ln>
            <a:noFill/>
          </a:ln>
        </p:spPr>
        <p:style>
          <a:lnRef idx="2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79318" tIns="79318" rIns="79318" bIns="79318" numCol="1" spcCol="1270" anchor="ctr" anchorCtr="0">
            <a:noAutofit/>
          </a:bodyPr>
          <a:lstStyle/>
          <a:p>
            <a:pPr lvl="0" algn="ctr" defTabSz="20002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2000" kern="1200" dirty="0">
                <a:latin typeface="Malgun Gothic" panose="020B0503020000020004" pitchFamily="34" charset="-127"/>
                <a:ea typeface="Malgun Gothic" panose="020B0503020000020004" pitchFamily="34" charset="-127"/>
              </a:rPr>
              <a:t>Upper* </a:t>
            </a:r>
            <a:r>
              <a:rPr lang="en-US" sz="2000" dirty="0"/>
              <a:t>e</a:t>
            </a:r>
            <a:r>
              <a:rPr lang="en-US" sz="2000" baseline="-25000" dirty="0"/>
              <a:t>0</a:t>
            </a:r>
            <a:r>
              <a:rPr lang="en-US" sz="2000" kern="1200" dirty="0">
                <a:latin typeface="Malgun Gothic" panose="020B0503020000020004" pitchFamily="34" charset="-127"/>
                <a:ea typeface="Malgun Gothic" panose="020B0503020000020004" pitchFamily="34" charset="-127"/>
              </a:rPr>
              <a:t> </a:t>
            </a:r>
            <a:endParaRPr lang="en-GB" sz="2000" kern="1200" dirty="0">
              <a:latin typeface="Malgun Gothic" panose="020B0503020000020004" pitchFamily="34" charset="-127"/>
              <a:ea typeface="Malgun Gothic" panose="020B0503020000020004" pitchFamily="34" charset="-127"/>
            </a:endParaRPr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21C38347-210D-4F4C-BC8A-3F82FA9BD709}"/>
              </a:ext>
            </a:extLst>
          </p:cNvPr>
          <p:cNvSpPr/>
          <p:nvPr/>
        </p:nvSpPr>
        <p:spPr>
          <a:xfrm>
            <a:off x="7291862" y="2054942"/>
            <a:ext cx="3205207" cy="888466"/>
          </a:xfrm>
          <a:custGeom>
            <a:avLst/>
            <a:gdLst>
              <a:gd name="connsiteX0" fmla="*/ 0 w 3027543"/>
              <a:gd name="connsiteY0" fmla="*/ 75689 h 756885"/>
              <a:gd name="connsiteX1" fmla="*/ 75689 w 3027543"/>
              <a:gd name="connsiteY1" fmla="*/ 0 h 756885"/>
              <a:gd name="connsiteX2" fmla="*/ 2951855 w 3027543"/>
              <a:gd name="connsiteY2" fmla="*/ 0 h 756885"/>
              <a:gd name="connsiteX3" fmla="*/ 3027544 w 3027543"/>
              <a:gd name="connsiteY3" fmla="*/ 75689 h 756885"/>
              <a:gd name="connsiteX4" fmla="*/ 3027543 w 3027543"/>
              <a:gd name="connsiteY4" fmla="*/ 681197 h 756885"/>
              <a:gd name="connsiteX5" fmla="*/ 2951854 w 3027543"/>
              <a:gd name="connsiteY5" fmla="*/ 756886 h 756885"/>
              <a:gd name="connsiteX6" fmla="*/ 75689 w 3027543"/>
              <a:gd name="connsiteY6" fmla="*/ 756885 h 756885"/>
              <a:gd name="connsiteX7" fmla="*/ 0 w 3027543"/>
              <a:gd name="connsiteY7" fmla="*/ 681196 h 756885"/>
              <a:gd name="connsiteX8" fmla="*/ 0 w 3027543"/>
              <a:gd name="connsiteY8" fmla="*/ 75689 h 7568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027543" h="756885">
                <a:moveTo>
                  <a:pt x="0" y="75689"/>
                </a:moveTo>
                <a:cubicBezTo>
                  <a:pt x="0" y="33887"/>
                  <a:pt x="33887" y="0"/>
                  <a:pt x="75689" y="0"/>
                </a:cubicBezTo>
                <a:lnTo>
                  <a:pt x="2951855" y="0"/>
                </a:lnTo>
                <a:cubicBezTo>
                  <a:pt x="2993657" y="0"/>
                  <a:pt x="3027544" y="33887"/>
                  <a:pt x="3027544" y="75689"/>
                </a:cubicBezTo>
                <a:cubicBezTo>
                  <a:pt x="3027544" y="277525"/>
                  <a:pt x="3027543" y="479361"/>
                  <a:pt x="3027543" y="681197"/>
                </a:cubicBezTo>
                <a:cubicBezTo>
                  <a:pt x="3027543" y="722999"/>
                  <a:pt x="2993656" y="756886"/>
                  <a:pt x="2951854" y="756886"/>
                </a:cubicBezTo>
                <a:lnTo>
                  <a:pt x="75689" y="756885"/>
                </a:lnTo>
                <a:cubicBezTo>
                  <a:pt x="33887" y="756885"/>
                  <a:pt x="0" y="722998"/>
                  <a:pt x="0" y="681196"/>
                </a:cubicBezTo>
                <a:lnTo>
                  <a:pt x="0" y="75689"/>
                </a:lnTo>
                <a:close/>
              </a:path>
            </a:pathLst>
          </a:custGeom>
          <a:solidFill>
            <a:srgbClr val="F2F2F2">
              <a:alpha val="90000"/>
            </a:srgbClr>
          </a:solidFill>
          <a:ln>
            <a:noFill/>
          </a:ln>
        </p:spPr>
        <p:style>
          <a:lnRef idx="2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79318" tIns="79318" rIns="79318" bIns="79318" numCol="1" spcCol="1270" anchor="ctr" anchorCtr="0">
            <a:noAutofit/>
          </a:bodyPr>
          <a:lstStyle/>
          <a:p>
            <a:pPr lvl="0" algn="ctr" defTabSz="20002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2000" kern="1200" dirty="0">
                <a:solidFill>
                  <a:srgbClr val="D0D8D7"/>
                </a:solidFill>
                <a:latin typeface="Malgun Gothic" panose="020B0503020000020004" pitchFamily="34" charset="-127"/>
                <a:ea typeface="Malgun Gothic" panose="020B0503020000020004" pitchFamily="34" charset="-127"/>
              </a:rPr>
              <a:t>Decomposition of life expectancy losses by season</a:t>
            </a:r>
            <a:endParaRPr lang="en-GB" sz="2000" kern="1200" dirty="0">
              <a:solidFill>
                <a:srgbClr val="D0D8D7"/>
              </a:solidFill>
              <a:latin typeface="Malgun Gothic" panose="020B0503020000020004" pitchFamily="34" charset="-127"/>
              <a:ea typeface="Malgun Gothic" panose="020B0503020000020004" pitchFamily="34" charset="-127"/>
            </a:endParaRPr>
          </a:p>
        </p:txBody>
      </p:sp>
      <p:sp>
        <p:nvSpPr>
          <p:cNvPr id="9" name="Left Brace 8">
            <a:extLst>
              <a:ext uri="{FF2B5EF4-FFF2-40B4-BE49-F238E27FC236}">
                <a16:creationId xmlns:a16="http://schemas.microsoft.com/office/drawing/2014/main" id="{1C5746E1-B674-4647-BE0E-552AD88F522D}"/>
              </a:ext>
            </a:extLst>
          </p:cNvPr>
          <p:cNvSpPr/>
          <p:nvPr/>
        </p:nvSpPr>
        <p:spPr>
          <a:xfrm rot="10800000">
            <a:off x="3751568" y="2418747"/>
            <a:ext cx="228259" cy="1220006"/>
          </a:xfrm>
          <a:prstGeom prst="leftBrace">
            <a:avLst>
              <a:gd name="adj1" fmla="val 63047"/>
              <a:gd name="adj2" fmla="val 49890"/>
            </a:avLst>
          </a:prstGeom>
          <a:ln w="19050" cmpd="sng">
            <a:prstDash val="solid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sz="2000"/>
          </a:p>
        </p:txBody>
      </p:sp>
      <p:sp>
        <p:nvSpPr>
          <p:cNvPr id="10" name="Left Brace 9">
            <a:extLst>
              <a:ext uri="{FF2B5EF4-FFF2-40B4-BE49-F238E27FC236}">
                <a16:creationId xmlns:a16="http://schemas.microsoft.com/office/drawing/2014/main" id="{C2622DEB-40DF-4669-9BA7-83E2FFAEF9C9}"/>
              </a:ext>
            </a:extLst>
          </p:cNvPr>
          <p:cNvSpPr/>
          <p:nvPr/>
        </p:nvSpPr>
        <p:spPr>
          <a:xfrm rot="10800000">
            <a:off x="6623080" y="2448648"/>
            <a:ext cx="228259" cy="1220006"/>
          </a:xfrm>
          <a:prstGeom prst="leftBrace">
            <a:avLst>
              <a:gd name="adj1" fmla="val 63047"/>
              <a:gd name="adj2" fmla="val 49890"/>
            </a:avLst>
          </a:prstGeom>
          <a:ln w="19050" cmpd="sng">
            <a:prstDash val="solid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sz="2000"/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70D27C39-1814-4C08-9D6D-85E729DB14B8}"/>
              </a:ext>
            </a:extLst>
          </p:cNvPr>
          <p:cNvSpPr/>
          <p:nvPr/>
        </p:nvSpPr>
        <p:spPr>
          <a:xfrm>
            <a:off x="7291862" y="3179092"/>
            <a:ext cx="3205207" cy="678844"/>
          </a:xfrm>
          <a:custGeom>
            <a:avLst/>
            <a:gdLst>
              <a:gd name="connsiteX0" fmla="*/ 0 w 3027543"/>
              <a:gd name="connsiteY0" fmla="*/ 75689 h 756885"/>
              <a:gd name="connsiteX1" fmla="*/ 75689 w 3027543"/>
              <a:gd name="connsiteY1" fmla="*/ 0 h 756885"/>
              <a:gd name="connsiteX2" fmla="*/ 2951855 w 3027543"/>
              <a:gd name="connsiteY2" fmla="*/ 0 h 756885"/>
              <a:gd name="connsiteX3" fmla="*/ 3027544 w 3027543"/>
              <a:gd name="connsiteY3" fmla="*/ 75689 h 756885"/>
              <a:gd name="connsiteX4" fmla="*/ 3027543 w 3027543"/>
              <a:gd name="connsiteY4" fmla="*/ 681197 h 756885"/>
              <a:gd name="connsiteX5" fmla="*/ 2951854 w 3027543"/>
              <a:gd name="connsiteY5" fmla="*/ 756886 h 756885"/>
              <a:gd name="connsiteX6" fmla="*/ 75689 w 3027543"/>
              <a:gd name="connsiteY6" fmla="*/ 756885 h 756885"/>
              <a:gd name="connsiteX7" fmla="*/ 0 w 3027543"/>
              <a:gd name="connsiteY7" fmla="*/ 681196 h 756885"/>
              <a:gd name="connsiteX8" fmla="*/ 0 w 3027543"/>
              <a:gd name="connsiteY8" fmla="*/ 75689 h 7568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027543" h="756885">
                <a:moveTo>
                  <a:pt x="0" y="75689"/>
                </a:moveTo>
                <a:cubicBezTo>
                  <a:pt x="0" y="33887"/>
                  <a:pt x="33887" y="0"/>
                  <a:pt x="75689" y="0"/>
                </a:cubicBezTo>
                <a:lnTo>
                  <a:pt x="2951855" y="0"/>
                </a:lnTo>
                <a:cubicBezTo>
                  <a:pt x="2993657" y="0"/>
                  <a:pt x="3027544" y="33887"/>
                  <a:pt x="3027544" y="75689"/>
                </a:cubicBezTo>
                <a:cubicBezTo>
                  <a:pt x="3027544" y="277525"/>
                  <a:pt x="3027543" y="479361"/>
                  <a:pt x="3027543" y="681197"/>
                </a:cubicBezTo>
                <a:cubicBezTo>
                  <a:pt x="3027543" y="722999"/>
                  <a:pt x="2993656" y="756886"/>
                  <a:pt x="2951854" y="756886"/>
                </a:cubicBezTo>
                <a:lnTo>
                  <a:pt x="75689" y="756885"/>
                </a:lnTo>
                <a:cubicBezTo>
                  <a:pt x="33887" y="756885"/>
                  <a:pt x="0" y="722998"/>
                  <a:pt x="0" y="681196"/>
                </a:cubicBezTo>
                <a:lnTo>
                  <a:pt x="0" y="75689"/>
                </a:lnTo>
                <a:close/>
              </a:path>
            </a:pathLst>
          </a:custGeom>
          <a:solidFill>
            <a:srgbClr val="71AEA9"/>
          </a:solidFill>
          <a:ln>
            <a:noFill/>
          </a:ln>
        </p:spPr>
        <p:style>
          <a:lnRef idx="2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79318" tIns="79318" rIns="79318" bIns="79318" numCol="1" spcCol="1270" anchor="ctr" anchorCtr="0">
            <a:noAutofit/>
          </a:bodyPr>
          <a:lstStyle/>
          <a:p>
            <a:pPr lvl="0" algn="ctr" defTabSz="20002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2000" dirty="0">
                <a:solidFill>
                  <a:schemeClr val="tx1"/>
                </a:solidFill>
                <a:latin typeface="Malgun Gothic" panose="020B0503020000020004" pitchFamily="34" charset="-127"/>
                <a:ea typeface="Malgun Gothic" panose="020B0503020000020004" pitchFamily="34" charset="-127"/>
              </a:rPr>
              <a:t>Analysis of </a:t>
            </a:r>
            <a:r>
              <a:rPr lang="en-US" sz="2000" u="sng" dirty="0">
                <a:solidFill>
                  <a:schemeClr val="tx1"/>
                </a:solidFill>
                <a:latin typeface="Malgun Gothic" panose="020B0503020000020004" pitchFamily="34" charset="-127"/>
                <a:ea typeface="Malgun Gothic" panose="020B0503020000020004" pitchFamily="34" charset="-127"/>
              </a:rPr>
              <a:t>observed</a:t>
            </a:r>
            <a:r>
              <a:rPr lang="en-US" sz="2000" dirty="0">
                <a:solidFill>
                  <a:schemeClr val="tx1"/>
                </a:solidFill>
                <a:latin typeface="Malgun Gothic" panose="020B0503020000020004" pitchFamily="34" charset="-127"/>
                <a:ea typeface="Malgun Gothic" panose="020B0503020000020004" pitchFamily="34" charset="-127"/>
              </a:rPr>
              <a:t> and </a:t>
            </a:r>
            <a:r>
              <a:rPr lang="en-US" sz="2000" u="dashLongHeavy" dirty="0">
                <a:solidFill>
                  <a:schemeClr val="tx1"/>
                </a:solidFill>
                <a:latin typeface="Malgun Gothic" panose="020B0503020000020004" pitchFamily="34" charset="-127"/>
                <a:ea typeface="Malgun Gothic" panose="020B0503020000020004" pitchFamily="34" charset="-127"/>
              </a:rPr>
              <a:t>upper</a:t>
            </a:r>
            <a:r>
              <a:rPr lang="en-US" sz="2000" dirty="0">
                <a:solidFill>
                  <a:schemeClr val="tx1"/>
                </a:solidFill>
                <a:latin typeface="Malgun Gothic" panose="020B0503020000020004" pitchFamily="34" charset="-127"/>
                <a:ea typeface="Malgun Gothic" panose="020B0503020000020004" pitchFamily="34" charset="-127"/>
              </a:rPr>
              <a:t> e</a:t>
            </a:r>
            <a:r>
              <a:rPr lang="en-US" sz="2000" baseline="-25000" dirty="0">
                <a:solidFill>
                  <a:schemeClr val="tx1"/>
                </a:solidFill>
                <a:latin typeface="Malgun Gothic" panose="020B0503020000020004" pitchFamily="34" charset="-127"/>
                <a:ea typeface="Malgun Gothic" panose="020B0503020000020004" pitchFamily="34" charset="-127"/>
              </a:rPr>
              <a:t>0 </a:t>
            </a:r>
            <a:r>
              <a:rPr lang="en-US" sz="2000" dirty="0">
                <a:solidFill>
                  <a:schemeClr val="tx1"/>
                </a:solidFill>
                <a:latin typeface="Malgun Gothic" panose="020B0503020000020004" pitchFamily="34" charset="-127"/>
                <a:ea typeface="Malgun Gothic" panose="020B0503020000020004" pitchFamily="34" charset="-127"/>
              </a:rPr>
              <a:t>trends</a:t>
            </a:r>
            <a:endParaRPr lang="en-GB" sz="2000" dirty="0">
              <a:solidFill>
                <a:schemeClr val="tx1"/>
              </a:solidFill>
              <a:latin typeface="Malgun Gothic" panose="020B0503020000020004" pitchFamily="34" charset="-127"/>
              <a:ea typeface="Malgun Gothic" panose="020B0503020000020004" pitchFamily="34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47328419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44C3C0C-AA14-4B20-8E68-90E5805AE3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>
                <a:latin typeface="Malgun Gothic" panose="020B0503020000020004" pitchFamily="34" charset="-127"/>
                <a:ea typeface="Malgun Gothic" panose="020B0503020000020004" pitchFamily="34" charset="-127"/>
              </a:rPr>
              <a:t>Impact on trends</a:t>
            </a:r>
            <a:endParaRPr lang="en-GB" sz="2400" dirty="0">
              <a:latin typeface="Malgun Gothic" panose="020B0503020000020004" pitchFamily="34" charset="-127"/>
              <a:ea typeface="Malgun Gothic" panose="020B0503020000020004" pitchFamily="34" charset="-127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2BD7E33-6E6B-4BD8-B3E0-C22AD63C001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en-US"/>
              <a:t>Max Planck Institute for demographic research                                                                                                                                                                               SEASONAL MORTALITY IN EUROPE | 26/09/2024</a:t>
            </a:r>
            <a:endParaRPr lang="de-DE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996D6426-C7E4-4594-BE82-B7F5F5EBC954}"/>
              </a:ext>
            </a:extLst>
          </p:cNvPr>
          <p:cNvSpPr/>
          <p:nvPr/>
        </p:nvSpPr>
        <p:spPr>
          <a:xfrm>
            <a:off x="947737" y="1684571"/>
            <a:ext cx="9847870" cy="424731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spcBef>
                <a:spcPts val="600"/>
              </a:spcBef>
              <a:buFont typeface="Times New Roman" panose="02020603050405020304" pitchFamily="18" charset="0"/>
              <a:buChar char="›"/>
            </a:pPr>
            <a:r>
              <a:rPr lang="en-US" sz="2000" u="sng" dirty="0">
                <a:latin typeface="Malgun Gothic" panose="020B0503020000020004" pitchFamily="34" charset="-127"/>
                <a:ea typeface="Malgun Gothic" panose="020B0503020000020004" pitchFamily="34" charset="-127"/>
              </a:rPr>
              <a:t>Observed</a:t>
            </a:r>
            <a:r>
              <a:rPr lang="en-US" sz="2000" dirty="0">
                <a:latin typeface="Malgun Gothic" panose="020B0503020000020004" pitchFamily="34" charset="-127"/>
                <a:ea typeface="Malgun Gothic" panose="020B0503020000020004" pitchFamily="34" charset="-127"/>
              </a:rPr>
              <a:t> and </a:t>
            </a:r>
            <a:r>
              <a:rPr lang="en-US" sz="2000" u="dashLongHeavy" dirty="0">
                <a:latin typeface="Malgun Gothic" panose="020B0503020000020004" pitchFamily="34" charset="-127"/>
                <a:ea typeface="Malgun Gothic" panose="020B0503020000020004" pitchFamily="34" charset="-127"/>
              </a:rPr>
              <a:t>upper</a:t>
            </a:r>
            <a:r>
              <a:rPr lang="en-US" sz="2000" i="1" dirty="0">
                <a:latin typeface="Malgun Gothic" panose="020B0503020000020004" pitchFamily="34" charset="-127"/>
                <a:ea typeface="Malgun Gothic" panose="020B0503020000020004" pitchFamily="34" charset="-127"/>
              </a:rPr>
              <a:t> </a:t>
            </a:r>
            <a:r>
              <a:rPr lang="en-US" sz="2000" dirty="0">
                <a:latin typeface="Malgun Gothic" panose="020B0503020000020004" pitchFamily="34" charset="-127"/>
                <a:ea typeface="Malgun Gothic" panose="020B0503020000020004" pitchFamily="34" charset="-127"/>
              </a:rPr>
              <a:t>estimated e</a:t>
            </a:r>
            <a:r>
              <a:rPr lang="en-US" sz="2000" baseline="-25000" dirty="0">
                <a:latin typeface="Malgun Gothic" panose="020B0503020000020004" pitchFamily="34" charset="-127"/>
                <a:ea typeface="Malgun Gothic" panose="020B0503020000020004" pitchFamily="34" charset="-127"/>
              </a:rPr>
              <a:t>0 </a:t>
            </a:r>
            <a:r>
              <a:rPr lang="en-US" sz="2000" dirty="0">
                <a:latin typeface="Malgun Gothic" panose="020B0503020000020004" pitchFamily="34" charset="-127"/>
                <a:ea typeface="Malgun Gothic" panose="020B0503020000020004" pitchFamily="34" charset="-127"/>
              </a:rPr>
              <a:t>were compared under two hypothetical scenarios of </a:t>
            </a:r>
          </a:p>
          <a:p>
            <a:pPr lvl="1">
              <a:spcBef>
                <a:spcPts val="600"/>
              </a:spcBef>
            </a:pPr>
            <a:r>
              <a:rPr lang="en-US" sz="2000" b="1" dirty="0">
                <a:latin typeface="Malgun Gothic" panose="020B0503020000020004" pitchFamily="34" charset="-127"/>
                <a:ea typeface="Malgun Gothic" panose="020B0503020000020004" pitchFamily="34" charset="-127"/>
              </a:rPr>
              <a:t>a)</a:t>
            </a:r>
            <a:r>
              <a:rPr lang="en-US" sz="2000" dirty="0">
                <a:latin typeface="Malgun Gothic" panose="020B0503020000020004" pitchFamily="34" charset="-127"/>
                <a:ea typeface="Malgun Gothic" panose="020B0503020000020004" pitchFamily="34" charset="-127"/>
              </a:rPr>
              <a:t> no overall excess seasonal mortality and </a:t>
            </a:r>
          </a:p>
          <a:p>
            <a:pPr lvl="1">
              <a:spcBef>
                <a:spcPts val="600"/>
              </a:spcBef>
            </a:pPr>
            <a:r>
              <a:rPr lang="en-US" sz="2000" b="1" dirty="0">
                <a:latin typeface="Malgun Gothic" panose="020B0503020000020004" pitchFamily="34" charset="-127"/>
                <a:ea typeface="Malgun Gothic" panose="020B0503020000020004" pitchFamily="34" charset="-127"/>
              </a:rPr>
              <a:t>b) </a:t>
            </a:r>
            <a:r>
              <a:rPr lang="en-US" sz="2000" dirty="0">
                <a:latin typeface="Malgun Gothic" panose="020B0503020000020004" pitchFamily="34" charset="-127"/>
                <a:ea typeface="Malgun Gothic" panose="020B0503020000020004" pitchFamily="34" charset="-127"/>
              </a:rPr>
              <a:t>no season-specific (spring, summer, autumn, and winter) excess mortality </a:t>
            </a:r>
          </a:p>
          <a:p>
            <a:pPr lvl="1">
              <a:spcBef>
                <a:spcPts val="600"/>
              </a:spcBef>
            </a:pPr>
            <a:endParaRPr lang="en-US" sz="2000" dirty="0">
              <a:latin typeface="Malgun Gothic" panose="020B0503020000020004" pitchFamily="34" charset="-127"/>
              <a:ea typeface="Malgun Gothic" panose="020B0503020000020004" pitchFamily="34" charset="-127"/>
            </a:endParaRPr>
          </a:p>
          <a:p>
            <a:pPr lvl="1">
              <a:spcBef>
                <a:spcPts val="600"/>
              </a:spcBef>
            </a:pPr>
            <a:endParaRPr lang="en-US" sz="2000" dirty="0">
              <a:latin typeface="Malgun Gothic" panose="020B0503020000020004" pitchFamily="34" charset="-127"/>
              <a:ea typeface="Malgun Gothic" panose="020B0503020000020004" pitchFamily="34" charset="-127"/>
            </a:endParaRPr>
          </a:p>
          <a:p>
            <a:pPr marL="285750" indent="-285750"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›"/>
            </a:pPr>
            <a:r>
              <a:rPr lang="en-US" sz="2000" b="1" dirty="0">
                <a:latin typeface="Malgun Gothic" panose="020B0503020000020004" pitchFamily="34" charset="-127"/>
                <a:ea typeface="Malgun Gothic" panose="020B0503020000020004" pitchFamily="34" charset="-127"/>
              </a:rPr>
              <a:t>no significant effect </a:t>
            </a:r>
            <a:r>
              <a:rPr lang="en-US" sz="2000" dirty="0">
                <a:latin typeface="Malgun Gothic" panose="020B0503020000020004" pitchFamily="34" charset="-127"/>
                <a:ea typeface="Malgun Gothic" panose="020B0503020000020004" pitchFamily="34" charset="-127"/>
              </a:rPr>
              <a:t>on the change in life expectancy at birth eliminating excess seasonal mortality</a:t>
            </a:r>
          </a:p>
          <a:p>
            <a:pPr marL="285750" indent="-285750"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›"/>
            </a:pPr>
            <a:r>
              <a:rPr lang="en-US" sz="2000" dirty="0">
                <a:latin typeface="Malgun Gothic" panose="020B0503020000020004" pitchFamily="34" charset="-127"/>
                <a:ea typeface="Malgun Gothic" panose="020B0503020000020004" pitchFamily="34" charset="-127"/>
              </a:rPr>
              <a:t>Exceptions: Hungary, Poland and Slovakia would have gained 0.4 years more between 2000 and 2019 without excess seasonal mortality (particularly winter mortality)</a:t>
            </a:r>
            <a:endParaRPr lang="en-GB" sz="2000" dirty="0">
              <a:latin typeface="Malgun Gothic" panose="020B0503020000020004" pitchFamily="34" charset="-127"/>
              <a:ea typeface="Malgun Gothic" panose="020B0503020000020004" pitchFamily="34" charset="-127"/>
            </a:endParaRPr>
          </a:p>
        </p:txBody>
      </p:sp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552CE6B1-4580-46A5-8557-22C9258C62B3}"/>
              </a:ext>
            </a:extLst>
          </p:cNvPr>
          <p:cNvCxnSpPr/>
          <p:nvPr/>
        </p:nvCxnSpPr>
        <p:spPr>
          <a:xfrm>
            <a:off x="5784916" y="3429000"/>
            <a:ext cx="0" cy="358219"/>
          </a:xfrm>
          <a:prstGeom prst="straightConnector1">
            <a:avLst/>
          </a:prstGeom>
          <a:ln w="38100" cmpd="sng">
            <a:prstDash val="solid"/>
            <a:headEnd type="none" w="med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5093462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3C47175-4A1A-47E2-ACC6-61110B1911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8" y="1086178"/>
            <a:ext cx="10296524" cy="546755"/>
          </a:xfrm>
        </p:spPr>
        <p:txBody>
          <a:bodyPr anchor="ctr"/>
          <a:lstStyle/>
          <a:p>
            <a:r>
              <a:rPr lang="en-US" sz="2800" dirty="0">
                <a:latin typeface="Malgun Gothic" panose="020B0503020000020004" pitchFamily="34" charset="-127"/>
                <a:ea typeface="Malgun Gothic" panose="020B0503020000020004" pitchFamily="34" charset="-127"/>
              </a:rPr>
              <a:t>conclusions</a:t>
            </a:r>
            <a:endParaRPr lang="en-GB" sz="2800" dirty="0">
              <a:latin typeface="Malgun Gothic" panose="020B0503020000020004" pitchFamily="34" charset="-127"/>
              <a:ea typeface="Malgun Gothic" panose="020B0503020000020004" pitchFamily="34" charset="-127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A30D825-4257-4E88-9FE0-27634E1E166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en-US"/>
              <a:t>Max Planck Institute for demographic research                                                                                                                                                                               SEASONAL MORTALITY IN EUROPE | 26/09/2024</a:t>
            </a:r>
            <a:endParaRPr lang="de-DE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9F69C593-05E9-4F9A-BEDB-D1CE7703A396}"/>
              </a:ext>
            </a:extLst>
          </p:cNvPr>
          <p:cNvSpPr txBox="1"/>
          <p:nvPr/>
        </p:nvSpPr>
        <p:spPr>
          <a:xfrm>
            <a:off x="1130627" y="2230423"/>
            <a:ext cx="9930745" cy="3693319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marL="324000" indent="-324000"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000" dirty="0">
                <a:latin typeface="Malgun Gothic" panose="020B0503020000020004" pitchFamily="34" charset="-127"/>
                <a:ea typeface="Malgun Gothic" panose="020B0503020000020004" pitchFamily="34" charset="-127"/>
              </a:rPr>
              <a:t>Significant cross-country variations losses due to seasonal mortality</a:t>
            </a:r>
          </a:p>
          <a:p>
            <a:pPr marL="324000" indent="-324000"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000" dirty="0">
                <a:latin typeface="Malgun Gothic" panose="020B0503020000020004" pitchFamily="34" charset="-127"/>
                <a:ea typeface="Malgun Gothic" panose="020B0503020000020004" pitchFamily="34" charset="-127"/>
              </a:rPr>
              <a:t>The impact was substantial for some countries, particularly among </a:t>
            </a:r>
            <a:r>
              <a:rPr lang="en-US" sz="2000" b="1" dirty="0">
                <a:latin typeface="Malgun Gothic" panose="020B0503020000020004" pitchFamily="34" charset="-127"/>
                <a:ea typeface="Malgun Gothic" panose="020B0503020000020004" pitchFamily="34" charset="-127"/>
              </a:rPr>
              <a:t>older adults</a:t>
            </a:r>
            <a:r>
              <a:rPr lang="en-US" sz="2000" dirty="0">
                <a:latin typeface="Malgun Gothic" panose="020B0503020000020004" pitchFamily="34" charset="-127"/>
                <a:ea typeface="Malgun Gothic" panose="020B0503020000020004" pitchFamily="34" charset="-127"/>
              </a:rPr>
              <a:t>, and predominantly driven by excess mortality during </a:t>
            </a:r>
            <a:r>
              <a:rPr lang="en-US" sz="2000" b="1" dirty="0">
                <a:latin typeface="Malgun Gothic" panose="020B0503020000020004" pitchFamily="34" charset="-127"/>
                <a:ea typeface="Malgun Gothic" panose="020B0503020000020004" pitchFamily="34" charset="-127"/>
              </a:rPr>
              <a:t>winter</a:t>
            </a:r>
          </a:p>
          <a:p>
            <a:pPr marL="324000" indent="-324000"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000" dirty="0">
                <a:latin typeface="Malgun Gothic" panose="020B0503020000020004" pitchFamily="34" charset="-127"/>
                <a:ea typeface="Malgun Gothic" panose="020B0503020000020004" pitchFamily="34" charset="-127"/>
              </a:rPr>
              <a:t>No trends observed for the impact of overall seasonality › counterbalancing factors (healthcare and living conditions improvements vs. increasing climate change threats and epidemics) </a:t>
            </a:r>
          </a:p>
          <a:p>
            <a:pPr marL="324000" indent="-324000">
              <a:spcBef>
                <a:spcPts val="120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000" dirty="0">
                <a:latin typeface="Malgun Gothic" panose="020B0503020000020004" pitchFamily="34" charset="-127"/>
                <a:ea typeface="Malgun Gothic" panose="020B0503020000020004" pitchFamily="34" charset="-127"/>
              </a:rPr>
              <a:t>Effects of seasonal variations may become stronger, with an increasing frequency and severity of temperature shocks › compensated by a reduction in the impact of the winter mortality</a:t>
            </a:r>
          </a:p>
        </p:txBody>
      </p:sp>
    </p:spTree>
    <p:extLst>
      <p:ext uri="{BB962C8B-B14F-4D97-AF65-F5344CB8AC3E}">
        <p14:creationId xmlns:p14="http://schemas.microsoft.com/office/powerpoint/2010/main" val="60818391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Bildplatzhalter 11">
            <a:extLst>
              <a:ext uri="{FF2B5EF4-FFF2-40B4-BE49-F238E27FC236}">
                <a16:creationId xmlns:a16="http://schemas.microsoft.com/office/drawing/2014/main" id="{B03CFA32-856F-1246-B766-33665787BB82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2"/>
          <a:srcRect t="1544" b="23928"/>
          <a:stretch/>
        </p:blipFill>
        <p:spPr>
          <a:xfrm>
            <a:off x="1216025" y="2020711"/>
            <a:ext cx="9747249" cy="4086578"/>
          </a:xfrm>
          <a:solidFill>
            <a:srgbClr val="F1F1F1">
              <a:alpha val="60000"/>
            </a:srgbClr>
          </a:solidFill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A4E72243-D1D8-47FB-959E-A0A707FBFF10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9340" t="5019" r="26714" b="15985"/>
          <a:stretch/>
        </p:blipFill>
        <p:spPr>
          <a:xfrm>
            <a:off x="0" y="0"/>
            <a:ext cx="12191999" cy="6858000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4AAAA226-6A2C-4DFC-B8E1-8E28224C6DA2}"/>
              </a:ext>
            </a:extLst>
          </p:cNvPr>
          <p:cNvSpPr/>
          <p:nvPr/>
        </p:nvSpPr>
        <p:spPr>
          <a:xfrm>
            <a:off x="865761" y="2096117"/>
            <a:ext cx="4879975" cy="2260955"/>
          </a:xfrm>
          <a:prstGeom prst="rect">
            <a:avLst/>
          </a:prstGeom>
          <a:solidFill>
            <a:schemeClr val="bg1">
              <a:alpha val="56000"/>
            </a:schemeClr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GB" sz="1300" b="1" dirty="0">
              <a:solidFill>
                <a:schemeClr val="bg1"/>
              </a:solidFill>
            </a:endParaRPr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09A902CE-A951-9349-884E-9C730D9F8AA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95355" y="1147459"/>
            <a:ext cx="3689563" cy="1302795"/>
          </a:xfrm>
          <a:solidFill>
            <a:srgbClr val="006C66"/>
          </a:solidFill>
        </p:spPr>
        <p:txBody>
          <a:bodyPr anchor="ctr"/>
          <a:lstStyle/>
          <a:p>
            <a:pPr algn="ctr"/>
            <a:r>
              <a:rPr lang="en-US" sz="2400" dirty="0">
                <a:solidFill>
                  <a:schemeClr val="bg1"/>
                </a:solidFill>
                <a:latin typeface="Malgun Gothic" panose="020B0503020000020004" pitchFamily="34" charset="-127"/>
                <a:ea typeface="Malgun Gothic" panose="020B0503020000020004" pitchFamily="34" charset="-127"/>
              </a:rPr>
              <a:t>Thank you for your attention!</a:t>
            </a:r>
          </a:p>
        </p:txBody>
      </p:sp>
      <p:sp>
        <p:nvSpPr>
          <p:cNvPr id="14" name="Untertitel 6">
            <a:extLst>
              <a:ext uri="{FF2B5EF4-FFF2-40B4-BE49-F238E27FC236}">
                <a16:creationId xmlns:a16="http://schemas.microsoft.com/office/drawing/2014/main" id="{D084D3FC-928A-1747-A9E7-597DCA09984F}"/>
              </a:ext>
            </a:extLst>
          </p:cNvPr>
          <p:cNvSpPr txBox="1">
            <a:spLocks/>
          </p:cNvSpPr>
          <p:nvPr/>
        </p:nvSpPr>
        <p:spPr>
          <a:xfrm>
            <a:off x="4603133" y="3562941"/>
            <a:ext cx="2622769" cy="1472197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ts val="2300"/>
              </a:lnSpc>
              <a:spcBef>
                <a:spcPts val="11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>
                <a:tab pos="180000" algn="l"/>
                <a:tab pos="360000" algn="l"/>
                <a:tab pos="576000" algn="l"/>
              </a:tabLst>
              <a:defRPr sz="1600" b="1" i="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2300"/>
              </a:lnSpc>
              <a:spcBef>
                <a:spcPts val="1150"/>
              </a:spcBef>
              <a:spcAft>
                <a:spcPts val="0"/>
              </a:spcAft>
              <a:buFont typeface="Arial" panose="020B0604020202020204" pitchFamily="34" charset="0"/>
              <a:buNone/>
              <a:tabLst>
                <a:tab pos="180000" algn="l"/>
                <a:tab pos="360000" algn="l"/>
                <a:tab pos="576000" algn="l"/>
              </a:tabLst>
              <a:defRPr sz="160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8" indent="-179388" algn="l" defTabSz="914400" rtl="0" eaLnBrk="1" latinLnBrk="0" hangingPunct="1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  <a:defRPr sz="1600" b="0" kern="4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9388" indent="-179388" algn="l" defTabSz="914400" rtl="0" eaLnBrk="1" latinLnBrk="0" hangingPunct="1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  <a:defRPr sz="1600" b="1" kern="600" spc="4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357188" indent="-179388" algn="l" defTabSz="914400" rtl="0" eaLnBrk="1" latinLnBrk="0" hangingPunct="1">
              <a:lnSpc>
                <a:spcPts val="2300"/>
              </a:lnSpc>
              <a:spcBef>
                <a:spcPts val="525"/>
              </a:spcBef>
              <a:buFont typeface="Arial" panose="020B0604020202020204" pitchFamily="34" charset="0"/>
              <a:buChar char="•"/>
              <a:defRPr sz="160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45750" indent="-285750" algn="l" defTabSz="914400" rtl="0" eaLnBrk="1" latinLnBrk="0" hangingPunct="1">
              <a:lnSpc>
                <a:spcPts val="23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10000"/>
              <a:buFont typeface="Symbol" panose="05050102010706020507" pitchFamily="18" charset="2"/>
              <a:buChar char=""/>
              <a:defRPr sz="1600" b="0" i="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215900" algn="l" defTabSz="914400" rtl="0" eaLnBrk="1" latinLnBrk="0" hangingPunct="1">
              <a:lnSpc>
                <a:spcPts val="2300"/>
              </a:lnSpc>
              <a:spcBef>
                <a:spcPts val="525"/>
              </a:spcBef>
              <a:spcAft>
                <a:spcPts val="0"/>
              </a:spcAft>
              <a:buClr>
                <a:schemeClr val="tx2"/>
              </a:buClr>
              <a:buFont typeface="Wingdings 3" panose="05040102010807070707" pitchFamily="18" charset="2"/>
              <a:buChar char=""/>
              <a:defRPr sz="1300" b="0" i="1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ts val="1100"/>
              </a:lnSpc>
              <a:spcBef>
                <a:spcPts val="525"/>
              </a:spcBef>
              <a:spcAft>
                <a:spcPts val="0"/>
              </a:spcAft>
              <a:buSzPct val="110000"/>
              <a:buFont typeface=".SF NS Symbols Regular"/>
              <a:buNone/>
              <a:defRPr sz="800" b="0" i="1" kern="600" spc="1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ts val="1100"/>
              </a:lnSpc>
              <a:spcBef>
                <a:spcPts val="525"/>
              </a:spcBef>
              <a:buFont typeface="Arial" panose="020B0604020202020204" pitchFamily="34" charset="0"/>
              <a:buNone/>
              <a:defRPr sz="800" b="0" i="1" kern="600" spc="1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 dirty="0">
              <a:solidFill>
                <a:srgbClr val="006C66"/>
              </a:solidFill>
            </a:endParaRPr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F4A5A453-0714-9B49-B700-ACB6D9B38A79}"/>
              </a:ext>
            </a:extLst>
          </p:cNvPr>
          <p:cNvSpPr txBox="1"/>
          <p:nvPr/>
        </p:nvSpPr>
        <p:spPr>
          <a:xfrm>
            <a:off x="1229759" y="2800778"/>
            <a:ext cx="4334494" cy="107721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lvl="0"/>
            <a:r>
              <a:rPr lang="de-DE" sz="2000" b="1" dirty="0">
                <a:solidFill>
                  <a:srgbClr val="006C66"/>
                </a:solidFill>
                <a:latin typeface="Malgun Gothic" panose="020B0503020000020004" pitchFamily="34" charset="-127"/>
                <a:ea typeface="Malgun Gothic" panose="020B0503020000020004" pitchFamily="34" charset="-127"/>
              </a:rPr>
              <a:t>Isabella Marinetti</a:t>
            </a:r>
          </a:p>
          <a:p>
            <a:pPr lvl="0"/>
            <a:br>
              <a:rPr lang="de-DE" b="1" dirty="0">
                <a:solidFill>
                  <a:srgbClr val="006C66"/>
                </a:solidFill>
                <a:latin typeface="Malgun Gothic" panose="020B0503020000020004" pitchFamily="34" charset="-127"/>
                <a:ea typeface="Malgun Gothic" panose="020B0503020000020004" pitchFamily="34" charset="-127"/>
              </a:rPr>
            </a:br>
            <a:r>
              <a:rPr lang="de-DE" sz="1600" dirty="0">
                <a:latin typeface="Malgun Gothic" panose="020B0503020000020004" pitchFamily="34" charset="-127"/>
                <a:ea typeface="Malgun Gothic" panose="020B0503020000020004" pitchFamily="34" charset="-127"/>
              </a:rPr>
              <a:t>PhD Student Laboratory </a:t>
            </a:r>
            <a:r>
              <a:rPr lang="de-DE" sz="1600" dirty="0" err="1">
                <a:latin typeface="Malgun Gothic" panose="020B0503020000020004" pitchFamily="34" charset="-127"/>
                <a:ea typeface="Malgun Gothic" panose="020B0503020000020004" pitchFamily="34" charset="-127"/>
              </a:rPr>
              <a:t>of</a:t>
            </a:r>
            <a:r>
              <a:rPr lang="de-DE" sz="1600" dirty="0">
                <a:latin typeface="Malgun Gothic" panose="020B0503020000020004" pitchFamily="34" charset="-127"/>
                <a:ea typeface="Malgun Gothic" panose="020B0503020000020004" pitchFamily="34" charset="-127"/>
              </a:rPr>
              <a:t> </a:t>
            </a:r>
            <a:r>
              <a:rPr lang="de-DE" sz="1600" dirty="0" err="1">
                <a:latin typeface="Malgun Gothic" panose="020B0503020000020004" pitchFamily="34" charset="-127"/>
                <a:ea typeface="Malgun Gothic" panose="020B0503020000020004" pitchFamily="34" charset="-127"/>
              </a:rPr>
              <a:t>Demographic</a:t>
            </a:r>
            <a:r>
              <a:rPr lang="de-DE" sz="1600" dirty="0">
                <a:latin typeface="Malgun Gothic" panose="020B0503020000020004" pitchFamily="34" charset="-127"/>
                <a:ea typeface="Malgun Gothic" panose="020B0503020000020004" pitchFamily="34" charset="-127"/>
              </a:rPr>
              <a:t> Data</a:t>
            </a:r>
            <a:endParaRPr lang="en-US" sz="1600" dirty="0">
              <a:latin typeface="Malgun Gothic" panose="020B0503020000020004" pitchFamily="34" charset="-127"/>
              <a:ea typeface="Malgun Gothic" panose="020B0503020000020004" pitchFamily="34" charset="-127"/>
            </a:endParaRPr>
          </a:p>
          <a:p>
            <a:pPr lvl="0"/>
            <a:endParaRPr lang="en-US" sz="1600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EBC24DFC-3A1C-43A0-AA7C-7F3DCE19CE1D}"/>
              </a:ext>
            </a:extLst>
          </p:cNvPr>
          <p:cNvSpPr/>
          <p:nvPr/>
        </p:nvSpPr>
        <p:spPr>
          <a:xfrm>
            <a:off x="1432423" y="3647736"/>
            <a:ext cx="2686120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en-US" sz="1600" dirty="0">
                <a:latin typeface="Malgun Gothic" panose="020B0503020000020004" pitchFamily="34" charset="-127"/>
                <a:ea typeface="Malgun Gothic" panose="020B0503020000020004" pitchFamily="34" charset="-127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marinetti@demogr.mpg.de</a:t>
            </a:r>
            <a:endParaRPr lang="en-US" sz="1600" dirty="0">
              <a:latin typeface="Malgun Gothic" panose="020B0503020000020004" pitchFamily="34" charset="-127"/>
              <a:ea typeface="Malgun Gothic" panose="020B0503020000020004" pitchFamily="34" charset="-127"/>
            </a:endParaRPr>
          </a:p>
          <a:p>
            <a:pPr lvl="0"/>
            <a:r>
              <a:rPr lang="en-US" sz="1600" dirty="0">
                <a:latin typeface="Malgun Gothic" panose="020B0503020000020004" pitchFamily="34" charset="-127"/>
                <a:ea typeface="Malgun Gothic" panose="020B0503020000020004" pitchFamily="34" charset="-127"/>
              </a:rPr>
              <a:t>@isa_marinetti</a:t>
            </a:r>
          </a:p>
        </p:txBody>
      </p:sp>
      <p:pic>
        <p:nvPicPr>
          <p:cNvPr id="11" name="Picture 6" descr="X new logo Twitter. Sign symbol letter X in minimalist design. 3d render  Stock Photo - Alamy">
            <a:extLst>
              <a:ext uri="{FF2B5EF4-FFF2-40B4-BE49-F238E27FC236}">
                <a16:creationId xmlns:a16="http://schemas.microsoft.com/office/drawing/2014/main" id="{84A7BA5C-2FBE-4666-95C3-9D877121B9C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17866" b="74670" l="28142" r="71858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2677" t="10766" r="22677" b="18230"/>
          <a:stretch/>
        </p:blipFill>
        <p:spPr bwMode="auto">
          <a:xfrm flipV="1">
            <a:off x="1229759" y="3940123"/>
            <a:ext cx="202664" cy="1936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Graphic 12" descr="Envelope">
            <a:extLst>
              <a:ext uri="{FF2B5EF4-FFF2-40B4-BE49-F238E27FC236}">
                <a16:creationId xmlns:a16="http://schemas.microsoft.com/office/drawing/2014/main" id="{8E601880-A208-4093-871A-DC1F80FFA914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229759" y="3743964"/>
            <a:ext cx="202664" cy="202664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54A35AB-1D05-456B-B958-E393CE62C12B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947739" y="6453188"/>
            <a:ext cx="10296524" cy="180000"/>
          </a:xfrm>
        </p:spPr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en-US"/>
              <a:t>Max Planck Institute for demographic research                                                                                                                                                                               SEASONAL MORTALITY IN EUROPE | 26/09/2024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346138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B7F5BC4-8F1F-4869-A210-A29FC5A6943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en-US"/>
              <a:t>Max Planck Institute for demographic research                                                                                                                                                                               SEASONAL MORTALITY IN EUROPE | 26/09/2024</a:t>
            </a:r>
            <a:endParaRPr lang="de-DE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1E7689BF-1197-4836-9FDD-36EEAB6FE516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3041"/>
          <a:stretch/>
        </p:blipFill>
        <p:spPr>
          <a:xfrm>
            <a:off x="1871786" y="476499"/>
            <a:ext cx="8787793" cy="6066689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68792D22-BAB9-401D-9B37-32A6C2FD0DD4}"/>
              </a:ext>
            </a:extLst>
          </p:cNvPr>
          <p:cNvSpPr txBox="1"/>
          <p:nvPr/>
        </p:nvSpPr>
        <p:spPr>
          <a:xfrm>
            <a:off x="405352" y="91858"/>
            <a:ext cx="11151909" cy="265907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ctr">
              <a:lnSpc>
                <a:spcPts val="2300"/>
              </a:lnSpc>
              <a:spcBef>
                <a:spcPts val="1150"/>
              </a:spcBef>
            </a:pPr>
            <a:r>
              <a:rPr lang="en-US" sz="1600" b="1" dirty="0">
                <a:latin typeface="Malgun Gothic" panose="020B0503020000020004" pitchFamily="34" charset="-127"/>
                <a:ea typeface="Malgun Gothic" panose="020B0503020000020004" pitchFamily="34" charset="-127"/>
              </a:rPr>
              <a:t>SDR by week and annual life expectancy at birth by European country and sex, 2000-2019</a:t>
            </a:r>
            <a:endParaRPr lang="en-GB" sz="1600" b="1" dirty="0" err="1">
              <a:latin typeface="Malgun Gothic" panose="020B0503020000020004" pitchFamily="34" charset="-127"/>
              <a:ea typeface="Malgun Gothic" panose="020B0503020000020004" pitchFamily="34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27196237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490EE45-C134-4609-8615-545CD200CFD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en-US"/>
              <a:t>Max Planck Institute for demographic research                                                                                                                                                                               SEASONAL MORTALITY IN EUROPE | 26/09/2024</a:t>
            </a:r>
            <a:endParaRPr lang="de-DE" dirty="0"/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50587373-8A2C-40CD-8A74-04E1EFB0154C}"/>
              </a:ext>
            </a:extLst>
          </p:cNvPr>
          <p:cNvSpPr/>
          <p:nvPr/>
        </p:nvSpPr>
        <p:spPr>
          <a:xfrm>
            <a:off x="947739" y="1099619"/>
            <a:ext cx="2370496" cy="1360775"/>
          </a:xfrm>
          <a:custGeom>
            <a:avLst/>
            <a:gdLst>
              <a:gd name="connsiteX0" fmla="*/ 0 w 1779984"/>
              <a:gd name="connsiteY0" fmla="*/ 192835 h 1156989"/>
              <a:gd name="connsiteX1" fmla="*/ 192835 w 1779984"/>
              <a:gd name="connsiteY1" fmla="*/ 0 h 1156989"/>
              <a:gd name="connsiteX2" fmla="*/ 1587149 w 1779984"/>
              <a:gd name="connsiteY2" fmla="*/ 0 h 1156989"/>
              <a:gd name="connsiteX3" fmla="*/ 1779984 w 1779984"/>
              <a:gd name="connsiteY3" fmla="*/ 192835 h 1156989"/>
              <a:gd name="connsiteX4" fmla="*/ 1779984 w 1779984"/>
              <a:gd name="connsiteY4" fmla="*/ 964154 h 1156989"/>
              <a:gd name="connsiteX5" fmla="*/ 1587149 w 1779984"/>
              <a:gd name="connsiteY5" fmla="*/ 1156989 h 1156989"/>
              <a:gd name="connsiteX6" fmla="*/ 192835 w 1779984"/>
              <a:gd name="connsiteY6" fmla="*/ 1156989 h 1156989"/>
              <a:gd name="connsiteX7" fmla="*/ 0 w 1779984"/>
              <a:gd name="connsiteY7" fmla="*/ 964154 h 1156989"/>
              <a:gd name="connsiteX8" fmla="*/ 0 w 1779984"/>
              <a:gd name="connsiteY8" fmla="*/ 192835 h 11569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779984" h="1156989">
                <a:moveTo>
                  <a:pt x="0" y="192835"/>
                </a:moveTo>
                <a:cubicBezTo>
                  <a:pt x="0" y="86335"/>
                  <a:pt x="86335" y="0"/>
                  <a:pt x="192835" y="0"/>
                </a:cubicBezTo>
                <a:lnTo>
                  <a:pt x="1587149" y="0"/>
                </a:lnTo>
                <a:cubicBezTo>
                  <a:pt x="1693649" y="0"/>
                  <a:pt x="1779984" y="86335"/>
                  <a:pt x="1779984" y="192835"/>
                </a:cubicBezTo>
                <a:lnTo>
                  <a:pt x="1779984" y="964154"/>
                </a:lnTo>
                <a:cubicBezTo>
                  <a:pt x="1779984" y="1070654"/>
                  <a:pt x="1693649" y="1156989"/>
                  <a:pt x="1587149" y="1156989"/>
                </a:cubicBezTo>
                <a:lnTo>
                  <a:pt x="192835" y="1156989"/>
                </a:lnTo>
                <a:cubicBezTo>
                  <a:pt x="86335" y="1156989"/>
                  <a:pt x="0" y="1070654"/>
                  <a:pt x="0" y="964154"/>
                </a:cubicBezTo>
                <a:lnTo>
                  <a:pt x="0" y="192835"/>
                </a:lnTo>
                <a:close/>
              </a:path>
            </a:pathLst>
          </a:custGeom>
          <a:solidFill>
            <a:srgbClr val="005869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220310" tIns="220310" rIns="220310" bIns="220310" numCol="1" spcCol="1270" anchor="ctr" anchorCtr="0">
            <a:noAutofit/>
          </a:bodyPr>
          <a:lstStyle/>
          <a:p>
            <a:pPr marL="0" lvl="0" indent="0" algn="ctr" defTabSz="19113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2400" b="1" kern="1200" dirty="0">
                <a:solidFill>
                  <a:schemeClr val="bg1"/>
                </a:solidFill>
                <a:latin typeface="Malgun Gothic" panose="020B0503020000020004" pitchFamily="34" charset="-127"/>
                <a:ea typeface="Malgun Gothic" panose="020B0503020000020004" pitchFamily="34" charset="-127"/>
              </a:rPr>
              <a:t>Seasonality in mortality</a:t>
            </a:r>
            <a:endParaRPr lang="en-GB" sz="2400" b="1" kern="1200" dirty="0">
              <a:solidFill>
                <a:schemeClr val="bg1"/>
              </a:solidFill>
              <a:latin typeface="Malgun Gothic" panose="020B0503020000020004" pitchFamily="34" charset="-127"/>
              <a:ea typeface="Malgun Gothic" panose="020B0503020000020004" pitchFamily="34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92342905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147EF76-F7BB-4CAC-ABED-3D1B6179EC4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en-US"/>
              <a:t>Max Planck Institute for demographic research                                                                                                                                                                               SEASONAL MORTALITY IN EUROPE | 26/09/2024</a:t>
            </a:r>
            <a:endParaRPr lang="de-DE" dirty="0"/>
          </a:p>
        </p:txBody>
      </p:sp>
      <p:pic>
        <p:nvPicPr>
          <p:cNvPr id="10" name="Content Placeholder 9">
            <a:extLst>
              <a:ext uri="{FF2B5EF4-FFF2-40B4-BE49-F238E27FC236}">
                <a16:creationId xmlns:a16="http://schemas.microsoft.com/office/drawing/2014/main" id="{EC31666D-7E05-4B03-B28E-CF08E3A46064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/>
          <a:srcRect l="479" t="1241" b="561"/>
          <a:stretch/>
        </p:blipFill>
        <p:spPr>
          <a:xfrm>
            <a:off x="2150685" y="462899"/>
            <a:ext cx="7890629" cy="6080289"/>
          </a:xfrm>
          <a:ln>
            <a:noFill/>
          </a:ln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29CB6E3F-D5B1-400F-873C-E6A3C557D265}"/>
              </a:ext>
            </a:extLst>
          </p:cNvPr>
          <p:cNvSpPr txBox="1"/>
          <p:nvPr/>
        </p:nvSpPr>
        <p:spPr>
          <a:xfrm>
            <a:off x="520044" y="106992"/>
            <a:ext cx="11151909" cy="265907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ctr">
              <a:lnSpc>
                <a:spcPts val="2300"/>
              </a:lnSpc>
              <a:spcBef>
                <a:spcPts val="1150"/>
              </a:spcBef>
            </a:pPr>
            <a:r>
              <a:rPr lang="en-US" sz="1600" b="1" dirty="0">
                <a:latin typeface="Malgun Gothic" panose="020B0503020000020004" pitchFamily="34" charset="-127"/>
                <a:ea typeface="Malgun Gothic" panose="020B0503020000020004" pitchFamily="34" charset="-127"/>
              </a:rPr>
              <a:t>Weeks selected for the upper life expectancy at birth, total population, 2000-2019</a:t>
            </a:r>
            <a:endParaRPr lang="en-GB" sz="1600" b="1" dirty="0" err="1">
              <a:latin typeface="Malgun Gothic" panose="020B0503020000020004" pitchFamily="34" charset="-127"/>
              <a:ea typeface="Malgun Gothic" panose="020B0503020000020004" pitchFamily="34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29983169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4AE34DDA-4331-4B98-9215-F64FA66C825D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/>
          <a:srcRect l="412" t="7433" r="509" b="1271"/>
          <a:stretch/>
        </p:blipFill>
        <p:spPr>
          <a:xfrm>
            <a:off x="820132" y="575035"/>
            <a:ext cx="11010508" cy="5797486"/>
          </a:xfrm>
        </p:spPr>
      </p:pic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7540C69-69F1-460F-A372-87A40A3CED8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en-US"/>
              <a:t>Max Planck Institute for demographic research                                                                                                                                                                               SEASONAL MORTALITY IN EUROPE | 26/09/2024</a:t>
            </a:r>
            <a:endParaRPr lang="de-DE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9337C32-3889-423B-B702-BDB2A65E0E02}"/>
              </a:ext>
            </a:extLst>
          </p:cNvPr>
          <p:cNvSpPr txBox="1"/>
          <p:nvPr/>
        </p:nvSpPr>
        <p:spPr>
          <a:xfrm>
            <a:off x="1760899" y="82592"/>
            <a:ext cx="8014698" cy="492443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ctr">
              <a:spcBef>
                <a:spcPts val="1150"/>
              </a:spcBef>
            </a:pPr>
            <a:r>
              <a:rPr lang="en-US" sz="1600" b="1" dirty="0">
                <a:latin typeface="Malgun Gothic" panose="020B0503020000020004" pitchFamily="34" charset="-127"/>
                <a:ea typeface="Malgun Gothic" panose="020B0503020000020004" pitchFamily="34" charset="-127"/>
              </a:rPr>
              <a:t>Potential increase in life expectancy if excess mortality due to seasonality would not occur (expressed in % of the observed life expectancy levels), 2000-2019</a:t>
            </a:r>
            <a:endParaRPr lang="en-GB" sz="1600" b="1" dirty="0" err="1">
              <a:latin typeface="Malgun Gothic" panose="020B0503020000020004" pitchFamily="34" charset="-127"/>
              <a:ea typeface="Malgun Gothic" panose="020B0503020000020004" pitchFamily="34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03467170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E05D7BB-3150-4AA4-97E3-EFB79E370E9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en-US"/>
              <a:t>Max Planck Institute for demographic research                                                                                                                                                                               SEASONAL MORTALITY IN EUROPE | 26/09/2024</a:t>
            </a:r>
            <a:endParaRPr lang="de-DE" dirty="0"/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E65F9183-98E6-4014-8C4A-2F3AD9DF4B4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92982596"/>
              </p:ext>
            </p:extLst>
          </p:nvPr>
        </p:nvGraphicFramePr>
        <p:xfrm>
          <a:off x="478034" y="1269208"/>
          <a:ext cx="5659135" cy="3982163"/>
        </p:xfrm>
        <a:graphic>
          <a:graphicData uri="http://schemas.openxmlformats.org/drawingml/2006/table">
            <a:tbl>
              <a:tblPr firstRow="1" firstCol="1">
                <a:tableStyleId>{5C22544A-7EE6-4342-B048-85BDC9FD1C3A}</a:tableStyleId>
              </a:tblPr>
              <a:tblGrid>
                <a:gridCol w="914083">
                  <a:extLst>
                    <a:ext uri="{9D8B030D-6E8A-4147-A177-3AD203B41FA5}">
                      <a16:colId xmlns:a16="http://schemas.microsoft.com/office/drawing/2014/main" val="1600310939"/>
                    </a:ext>
                  </a:extLst>
                </a:gridCol>
                <a:gridCol w="744961">
                  <a:extLst>
                    <a:ext uri="{9D8B030D-6E8A-4147-A177-3AD203B41FA5}">
                      <a16:colId xmlns:a16="http://schemas.microsoft.com/office/drawing/2014/main" val="1015049140"/>
                    </a:ext>
                  </a:extLst>
                </a:gridCol>
                <a:gridCol w="781242">
                  <a:extLst>
                    <a:ext uri="{9D8B030D-6E8A-4147-A177-3AD203B41FA5}">
                      <a16:colId xmlns:a16="http://schemas.microsoft.com/office/drawing/2014/main" val="243732167"/>
                    </a:ext>
                  </a:extLst>
                </a:gridCol>
                <a:gridCol w="763102">
                  <a:extLst>
                    <a:ext uri="{9D8B030D-6E8A-4147-A177-3AD203B41FA5}">
                      <a16:colId xmlns:a16="http://schemas.microsoft.com/office/drawing/2014/main" val="337709963"/>
                    </a:ext>
                  </a:extLst>
                </a:gridCol>
                <a:gridCol w="763102">
                  <a:extLst>
                    <a:ext uri="{9D8B030D-6E8A-4147-A177-3AD203B41FA5}">
                      <a16:colId xmlns:a16="http://schemas.microsoft.com/office/drawing/2014/main" val="1215130224"/>
                    </a:ext>
                  </a:extLst>
                </a:gridCol>
                <a:gridCol w="864000">
                  <a:extLst>
                    <a:ext uri="{9D8B030D-6E8A-4147-A177-3AD203B41FA5}">
                      <a16:colId xmlns:a16="http://schemas.microsoft.com/office/drawing/2014/main" val="3793083292"/>
                    </a:ext>
                  </a:extLst>
                </a:gridCol>
                <a:gridCol w="828645">
                  <a:extLst>
                    <a:ext uri="{9D8B030D-6E8A-4147-A177-3AD203B41FA5}">
                      <a16:colId xmlns:a16="http://schemas.microsoft.com/office/drawing/2014/main" val="4095582144"/>
                    </a:ext>
                  </a:extLst>
                </a:gridCol>
              </a:tblGrid>
              <a:tr h="244614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 dirty="0">
                          <a:effectLst/>
                        </a:rPr>
                        <a:t> </a:t>
                      </a:r>
                      <a:r>
                        <a:rPr lang="en-US" sz="1200" dirty="0">
                          <a:effectLst/>
                        </a:rPr>
                        <a:t>Males</a:t>
                      </a:r>
                      <a:endParaRPr lang="en-GB" sz="8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336" marR="48336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 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336" marR="48336" marT="0" marB="0"/>
                </a:tc>
                <a:tc gridSpan="5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Difference with the observed change in e</a:t>
                      </a:r>
                      <a:r>
                        <a:rPr lang="en-US" sz="800" baseline="-25000">
                          <a:effectLst/>
                        </a:rPr>
                        <a:t>0</a:t>
                      </a:r>
                      <a:r>
                        <a:rPr lang="en-US" sz="800">
                          <a:effectLst/>
                        </a:rPr>
                        <a:t> 2000–2019 (in years)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336" marR="48336" marT="0" marB="0" anchor="ctr"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95680374"/>
                  </a:ext>
                </a:extLst>
              </a:tr>
              <a:tr h="495397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Country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336" marR="48336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Observed change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336" marR="48336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Without seasonality</a:t>
                      </a:r>
                      <a:r>
                        <a:rPr lang="en-US" sz="600">
                          <a:effectLst/>
                        </a:rPr>
                        <a:t> 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336" marR="48336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Without winter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336" marR="48336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Without spring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336" marR="48336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 dirty="0">
                          <a:effectLst/>
                        </a:rPr>
                        <a:t>Without summer</a:t>
                      </a:r>
                      <a:endParaRPr lang="en-GB" sz="8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336" marR="48336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 dirty="0">
                          <a:effectLst/>
                        </a:rPr>
                        <a:t>Without autumn</a:t>
                      </a:r>
                      <a:endParaRPr lang="en-GB" sz="8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336" marR="48336" marT="0" marB="0" anchor="ctr"/>
                </a:tc>
                <a:extLst>
                  <a:ext uri="{0D108BD9-81ED-4DB2-BD59-A6C34878D82A}">
                    <a16:rowId xmlns:a16="http://schemas.microsoft.com/office/drawing/2014/main" val="38318962"/>
                  </a:ext>
                </a:extLst>
              </a:tr>
              <a:tr h="150914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Austria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336" marR="48336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4.69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336" marR="48336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-0.07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336" marR="48336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0.01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336" marR="48336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0.00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336" marR="48336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-0.02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336" marR="48336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-0.06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336" marR="48336" marT="0" marB="0" anchor="ctr"/>
                </a:tc>
                <a:extLst>
                  <a:ext uri="{0D108BD9-81ED-4DB2-BD59-A6C34878D82A}">
                    <a16:rowId xmlns:a16="http://schemas.microsoft.com/office/drawing/2014/main" val="2042478924"/>
                  </a:ext>
                </a:extLst>
              </a:tr>
              <a:tr h="150914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Belgium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336" marR="48336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4.84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336" marR="48336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0.11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336" marR="48336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0.03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336" marR="48336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0.08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336" marR="48336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-0.03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336" marR="48336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0.02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336" marR="48336" marT="0" marB="0" anchor="ctr"/>
                </a:tc>
                <a:extLst>
                  <a:ext uri="{0D108BD9-81ED-4DB2-BD59-A6C34878D82A}">
                    <a16:rowId xmlns:a16="http://schemas.microsoft.com/office/drawing/2014/main" val="3468534327"/>
                  </a:ext>
                </a:extLst>
              </a:tr>
              <a:tr h="150914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Bulgaria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336" marR="48336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 dirty="0">
                          <a:effectLst/>
                        </a:rPr>
                        <a:t>3.54</a:t>
                      </a:r>
                      <a:endParaRPr lang="en-GB" sz="8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336" marR="48336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-0.32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336" marR="48336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-0.11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336" marR="48336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-0.11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336" marR="48336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-0.01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336" marR="48336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-0.03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336" marR="48336" marT="0" marB="0" anchor="ctr"/>
                </a:tc>
                <a:extLst>
                  <a:ext uri="{0D108BD9-81ED-4DB2-BD59-A6C34878D82A}">
                    <a16:rowId xmlns:a16="http://schemas.microsoft.com/office/drawing/2014/main" val="3538308249"/>
                  </a:ext>
                </a:extLst>
              </a:tr>
              <a:tr h="150914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Croatia</a:t>
                      </a:r>
                      <a:r>
                        <a:rPr lang="en-US" sz="800" baseline="30000">
                          <a:effectLst/>
                        </a:rPr>
                        <a:t>1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336" marR="48336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4.7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336" marR="48336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-0.30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336" marR="48336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0.00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336" marR="48336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-0.11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336" marR="48336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-0.09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336" marR="48336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-0.09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336" marR="48336" marT="0" marB="0" anchor="ctr"/>
                </a:tc>
                <a:extLst>
                  <a:ext uri="{0D108BD9-81ED-4DB2-BD59-A6C34878D82A}">
                    <a16:rowId xmlns:a16="http://schemas.microsoft.com/office/drawing/2014/main" val="1538378667"/>
                  </a:ext>
                </a:extLst>
              </a:tr>
              <a:tr h="150914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Estonia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336" marR="48336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10.02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336" marR="48336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-0.35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336" marR="48336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-0.08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336" marR="48336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0.01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336" marR="48336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-0.13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336" marR="48336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-0.14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336" marR="48336" marT="0" marB="0" anchor="ctr"/>
                </a:tc>
                <a:extLst>
                  <a:ext uri="{0D108BD9-81ED-4DB2-BD59-A6C34878D82A}">
                    <a16:rowId xmlns:a16="http://schemas.microsoft.com/office/drawing/2014/main" val="1639056442"/>
                  </a:ext>
                </a:extLst>
              </a:tr>
              <a:tr h="150914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Finland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336" marR="48336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5.04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336" marR="48336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-0.09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336" marR="48336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-0.01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336" marR="48336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-0.01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336" marR="48336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-0.12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336" marR="48336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0.05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336" marR="48336" marT="0" marB="0" anchor="ctr"/>
                </a:tc>
                <a:extLst>
                  <a:ext uri="{0D108BD9-81ED-4DB2-BD59-A6C34878D82A}">
                    <a16:rowId xmlns:a16="http://schemas.microsoft.com/office/drawing/2014/main" val="2285151892"/>
                  </a:ext>
                </a:extLst>
              </a:tr>
              <a:tr h="150914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France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336" marR="48336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4.62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336" marR="48336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0.10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336" marR="48336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0.07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336" marR="48336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0.04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336" marR="48336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-0.05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336" marR="48336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0.04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336" marR="48336" marT="0" marB="0" anchor="ctr"/>
                </a:tc>
                <a:extLst>
                  <a:ext uri="{0D108BD9-81ED-4DB2-BD59-A6C34878D82A}">
                    <a16:rowId xmlns:a16="http://schemas.microsoft.com/office/drawing/2014/main" val="2470690623"/>
                  </a:ext>
                </a:extLst>
              </a:tr>
              <a:tr h="150914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Germany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336" marR="48336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3.84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336" marR="48336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0.25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336" marR="48336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0.13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336" marR="48336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0.08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336" marR="48336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0.01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336" marR="48336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0.04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336" marR="48336" marT="0" marB="0" anchor="ctr"/>
                </a:tc>
                <a:extLst>
                  <a:ext uri="{0D108BD9-81ED-4DB2-BD59-A6C34878D82A}">
                    <a16:rowId xmlns:a16="http://schemas.microsoft.com/office/drawing/2014/main" val="2564326141"/>
                  </a:ext>
                </a:extLst>
              </a:tr>
              <a:tr h="150914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Hungary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336" marR="48336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5.86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336" marR="48336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0.33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336" marR="48336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0.28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336" marR="48336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0.02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336" marR="48336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-0.07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336" marR="48336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0.04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336" marR="48336" marT="0" marB="0" anchor="ctr"/>
                </a:tc>
                <a:extLst>
                  <a:ext uri="{0D108BD9-81ED-4DB2-BD59-A6C34878D82A}">
                    <a16:rowId xmlns:a16="http://schemas.microsoft.com/office/drawing/2014/main" val="672873437"/>
                  </a:ext>
                </a:extLst>
              </a:tr>
              <a:tr h="150914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Latvia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336" marR="48336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7.01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336" marR="48336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-0.30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336" marR="48336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0.01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336" marR="48336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0.03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336" marR="48336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-0.08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336" marR="48336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-0.24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336" marR="48336" marT="0" marB="0" anchor="ctr"/>
                </a:tc>
                <a:extLst>
                  <a:ext uri="{0D108BD9-81ED-4DB2-BD59-A6C34878D82A}">
                    <a16:rowId xmlns:a16="http://schemas.microsoft.com/office/drawing/2014/main" val="3449785886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 dirty="0">
                          <a:effectLst/>
                        </a:rPr>
                        <a:t>Lithuania</a:t>
                      </a:r>
                      <a:endParaRPr lang="en-GB" sz="8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336" marR="48336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5.69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336" marR="48336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 dirty="0">
                          <a:effectLst/>
                        </a:rPr>
                        <a:t>-0.07</a:t>
                      </a:r>
                      <a:endParaRPr lang="en-GB" sz="8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336" marR="48336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0.09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336" marR="48336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0.04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336" marR="48336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-0.03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336" marR="48336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-0.15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336" marR="48336" marT="0" marB="0" anchor="ctr"/>
                </a:tc>
                <a:extLst>
                  <a:ext uri="{0D108BD9-81ED-4DB2-BD59-A6C34878D82A}">
                    <a16:rowId xmlns:a16="http://schemas.microsoft.com/office/drawing/2014/main" val="1033633269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 dirty="0">
                          <a:effectLst/>
                        </a:rPr>
                        <a:t>Netherlands</a:t>
                      </a:r>
                      <a:endParaRPr lang="en-GB" sz="8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336" marR="48336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5.08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336" marR="48336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0.03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336" marR="48336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 dirty="0">
                          <a:effectLst/>
                        </a:rPr>
                        <a:t>0.03</a:t>
                      </a:r>
                      <a:endParaRPr lang="en-GB" sz="8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336" marR="48336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-0.05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336" marR="48336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-0.03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336" marR="48336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0.05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336" marR="48336" marT="0" marB="0" anchor="ctr"/>
                </a:tc>
                <a:extLst>
                  <a:ext uri="{0D108BD9-81ED-4DB2-BD59-A6C34878D82A}">
                    <a16:rowId xmlns:a16="http://schemas.microsoft.com/office/drawing/2014/main" val="1047086798"/>
                  </a:ext>
                </a:extLst>
              </a:tr>
              <a:tr h="150914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Norway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336" marR="48336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5.28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336" marR="48336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-0.07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336" marR="48336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-0.03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336" marR="48336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-0.01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336" marR="48336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-0.04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336" marR="48336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0.01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336" marR="48336" marT="0" marB="0" anchor="ctr"/>
                </a:tc>
                <a:extLst>
                  <a:ext uri="{0D108BD9-81ED-4DB2-BD59-A6C34878D82A}">
                    <a16:rowId xmlns:a16="http://schemas.microsoft.com/office/drawing/2014/main" val="3979961847"/>
                  </a:ext>
                </a:extLst>
              </a:tr>
              <a:tr h="150914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Poland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336" marR="48336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4.65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336" marR="48336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0.33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336" marR="48336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0.19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336" marR="48336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0.07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336" marR="48336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0.02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336" marR="48336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0.04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336" marR="48336" marT="0" marB="0" anchor="ctr"/>
                </a:tc>
                <a:extLst>
                  <a:ext uri="{0D108BD9-81ED-4DB2-BD59-A6C34878D82A}">
                    <a16:rowId xmlns:a16="http://schemas.microsoft.com/office/drawing/2014/main" val="938483651"/>
                  </a:ext>
                </a:extLst>
              </a:tr>
              <a:tr h="150914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Portugal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336" marR="48336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5.63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336" marR="48336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-0.12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336" marR="48336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0.02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336" marR="48336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-0.05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336" marR="48336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-0.06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336" marR="48336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0.01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336" marR="48336" marT="0" marB="0" anchor="ctr"/>
                </a:tc>
                <a:extLst>
                  <a:ext uri="{0D108BD9-81ED-4DB2-BD59-A6C34878D82A}">
                    <a16:rowId xmlns:a16="http://schemas.microsoft.com/office/drawing/2014/main" val="1326643108"/>
                  </a:ext>
                </a:extLst>
              </a:tr>
              <a:tr h="150914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Russia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336" marR="48336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10.71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336" marR="48336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0.00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336" marR="48336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0.07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336" marR="48336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0.06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336" marR="48336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-0.03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336" marR="48336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-0.09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336" marR="48336" marT="0" marB="0" anchor="ctr"/>
                </a:tc>
                <a:extLst>
                  <a:ext uri="{0D108BD9-81ED-4DB2-BD59-A6C34878D82A}">
                    <a16:rowId xmlns:a16="http://schemas.microsoft.com/office/drawing/2014/main" val="2460511392"/>
                  </a:ext>
                </a:extLst>
              </a:tr>
              <a:tr h="150914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Slovakia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336" marR="48336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5.35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336" marR="48336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0.27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336" marR="48336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0.20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336" marR="48336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0.06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336" marR="48336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0.00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336" marR="48336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0.00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336" marR="48336" marT="0" marB="0" anchor="ctr"/>
                </a:tc>
                <a:extLst>
                  <a:ext uri="{0D108BD9-81ED-4DB2-BD59-A6C34878D82A}">
                    <a16:rowId xmlns:a16="http://schemas.microsoft.com/office/drawing/2014/main" val="3587211420"/>
                  </a:ext>
                </a:extLst>
              </a:tr>
              <a:tr h="150914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Spain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336" marR="48336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5.08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336" marR="48336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0.07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336" marR="48336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0.07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336" marR="48336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 dirty="0">
                          <a:effectLst/>
                        </a:rPr>
                        <a:t>0.02</a:t>
                      </a:r>
                      <a:endParaRPr lang="en-GB" sz="8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336" marR="48336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-0.02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336" marR="48336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-0.01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336" marR="48336" marT="0" marB="0" anchor="ctr"/>
                </a:tc>
                <a:extLst>
                  <a:ext uri="{0D108BD9-81ED-4DB2-BD59-A6C34878D82A}">
                    <a16:rowId xmlns:a16="http://schemas.microsoft.com/office/drawing/2014/main" val="1797550971"/>
                  </a:ext>
                </a:extLst>
              </a:tr>
              <a:tr h="150914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Sweden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336" marR="48336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3.91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336" marR="48336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0.17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336" marR="48336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0.10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336" marR="48336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0.03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336" marR="48336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-0.02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336" marR="48336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0.05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336" marR="48336" marT="0" marB="0" anchor="ctr"/>
                </a:tc>
                <a:extLst>
                  <a:ext uri="{0D108BD9-81ED-4DB2-BD59-A6C34878D82A}">
                    <a16:rowId xmlns:a16="http://schemas.microsoft.com/office/drawing/2014/main" val="375369842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 dirty="0">
                          <a:effectLst/>
                        </a:rPr>
                        <a:t>Switzerland</a:t>
                      </a:r>
                      <a:endParaRPr lang="en-GB" sz="8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336" marR="48336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4.73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336" marR="48336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-0.01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336" marR="48336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0.04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336" marR="48336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 dirty="0">
                          <a:effectLst/>
                        </a:rPr>
                        <a:t>0.00</a:t>
                      </a:r>
                      <a:endParaRPr lang="en-GB" sz="8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336" marR="48336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 dirty="0">
                          <a:effectLst/>
                        </a:rPr>
                        <a:t>-0.04</a:t>
                      </a:r>
                      <a:endParaRPr lang="en-GB" sz="8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336" marR="48336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 dirty="0">
                          <a:effectLst/>
                        </a:rPr>
                        <a:t>-0.03</a:t>
                      </a:r>
                      <a:endParaRPr lang="en-GB" sz="8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336" marR="48336" marT="0" marB="0" anchor="ctr"/>
                </a:tc>
                <a:extLst>
                  <a:ext uri="{0D108BD9-81ED-4DB2-BD59-A6C34878D82A}">
                    <a16:rowId xmlns:a16="http://schemas.microsoft.com/office/drawing/2014/main" val="2697073810"/>
                  </a:ext>
                </a:extLst>
              </a:tr>
              <a:tr h="244614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Median country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336" marR="48336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5.08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336" marR="48336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-0.07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336" marR="48336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0.01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336" marR="48336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0.00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336" marR="48336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 dirty="0">
                          <a:effectLst/>
                        </a:rPr>
                        <a:t>-0.02</a:t>
                      </a:r>
                      <a:endParaRPr lang="en-GB" sz="8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336" marR="48336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 dirty="0">
                          <a:effectLst/>
                        </a:rPr>
                        <a:t>-0.06</a:t>
                      </a:r>
                      <a:endParaRPr lang="en-GB" sz="8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336" marR="48336" marT="0" marB="0" anchor="ctr"/>
                </a:tc>
                <a:extLst>
                  <a:ext uri="{0D108BD9-81ED-4DB2-BD59-A6C34878D82A}">
                    <a16:rowId xmlns:a16="http://schemas.microsoft.com/office/drawing/2014/main" val="1284133506"/>
                  </a:ext>
                </a:extLst>
              </a:tr>
            </a:tbl>
          </a:graphicData>
        </a:graphic>
      </p:graphicFrame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BC4A4096-1159-400B-A4C8-C9ACB3AA524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95440761"/>
              </p:ext>
            </p:extLst>
          </p:nvPr>
        </p:nvGraphicFramePr>
        <p:xfrm>
          <a:off x="6301782" y="1259949"/>
          <a:ext cx="5703066" cy="3966115"/>
        </p:xfrm>
        <a:graphic>
          <a:graphicData uri="http://schemas.openxmlformats.org/drawingml/2006/table">
            <a:tbl>
              <a:tblPr firstRow="1" firstCol="1">
                <a:tableStyleId>{5C22544A-7EE6-4342-B048-85BDC9FD1C3A}</a:tableStyleId>
              </a:tblPr>
              <a:tblGrid>
                <a:gridCol w="922329">
                  <a:extLst>
                    <a:ext uri="{9D8B030D-6E8A-4147-A177-3AD203B41FA5}">
                      <a16:colId xmlns:a16="http://schemas.microsoft.com/office/drawing/2014/main" val="2436678176"/>
                    </a:ext>
                  </a:extLst>
                </a:gridCol>
                <a:gridCol w="754291">
                  <a:extLst>
                    <a:ext uri="{9D8B030D-6E8A-4147-A177-3AD203B41FA5}">
                      <a16:colId xmlns:a16="http://schemas.microsoft.com/office/drawing/2014/main" val="4070478010"/>
                    </a:ext>
                  </a:extLst>
                </a:gridCol>
                <a:gridCol w="793501">
                  <a:extLst>
                    <a:ext uri="{9D8B030D-6E8A-4147-A177-3AD203B41FA5}">
                      <a16:colId xmlns:a16="http://schemas.microsoft.com/office/drawing/2014/main" val="3433814126"/>
                    </a:ext>
                  </a:extLst>
                </a:gridCol>
                <a:gridCol w="768605">
                  <a:extLst>
                    <a:ext uri="{9D8B030D-6E8A-4147-A177-3AD203B41FA5}">
                      <a16:colId xmlns:a16="http://schemas.microsoft.com/office/drawing/2014/main" val="2929974263"/>
                    </a:ext>
                  </a:extLst>
                </a:gridCol>
                <a:gridCol w="772340">
                  <a:extLst>
                    <a:ext uri="{9D8B030D-6E8A-4147-A177-3AD203B41FA5}">
                      <a16:colId xmlns:a16="http://schemas.microsoft.com/office/drawing/2014/main" val="2736517640"/>
                    </a:ext>
                  </a:extLst>
                </a:gridCol>
                <a:gridCol w="864000">
                  <a:extLst>
                    <a:ext uri="{9D8B030D-6E8A-4147-A177-3AD203B41FA5}">
                      <a16:colId xmlns:a16="http://schemas.microsoft.com/office/drawing/2014/main" val="4287724559"/>
                    </a:ext>
                  </a:extLst>
                </a:gridCol>
                <a:gridCol w="828000">
                  <a:extLst>
                    <a:ext uri="{9D8B030D-6E8A-4147-A177-3AD203B41FA5}">
                      <a16:colId xmlns:a16="http://schemas.microsoft.com/office/drawing/2014/main" val="3085633838"/>
                    </a:ext>
                  </a:extLst>
                </a:gridCol>
              </a:tblGrid>
              <a:tr h="241367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 dirty="0">
                          <a:effectLst/>
                        </a:rPr>
                        <a:t> </a:t>
                      </a:r>
                      <a:r>
                        <a:rPr lang="en-US" sz="1200" dirty="0">
                          <a:effectLst/>
                        </a:rPr>
                        <a:t>Females</a:t>
                      </a:r>
                      <a:endParaRPr lang="en-GB" sz="8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301" marR="47301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 dirty="0">
                          <a:effectLst/>
                        </a:rPr>
                        <a:t> </a:t>
                      </a:r>
                      <a:endParaRPr lang="en-GB" sz="8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301" marR="47301" marT="0" marB="0"/>
                </a:tc>
                <a:tc gridSpan="5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 dirty="0">
                          <a:effectLst/>
                        </a:rPr>
                        <a:t>Difference with the observed change in e</a:t>
                      </a:r>
                      <a:r>
                        <a:rPr lang="en-US" sz="800" baseline="-25000" dirty="0">
                          <a:effectLst/>
                        </a:rPr>
                        <a:t>0</a:t>
                      </a:r>
                      <a:r>
                        <a:rPr lang="en-US" sz="800" dirty="0">
                          <a:effectLst/>
                        </a:rPr>
                        <a:t> 2000–2019 (in years)</a:t>
                      </a:r>
                      <a:endParaRPr lang="en-GB" sz="8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301" marR="47301" marT="0" marB="0" anchor="ctr"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36118061"/>
                  </a:ext>
                </a:extLst>
              </a:tr>
              <a:tr h="488821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Country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301" marR="47301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 dirty="0">
                          <a:effectLst/>
                        </a:rPr>
                        <a:t>Observed change</a:t>
                      </a:r>
                      <a:endParaRPr lang="en-GB" sz="8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301" marR="47301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 dirty="0">
                          <a:effectLst/>
                        </a:rPr>
                        <a:t>Without seasonality</a:t>
                      </a:r>
                      <a:endParaRPr lang="en-GB" sz="8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301" marR="47301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Without winter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301" marR="47301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Without spring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301" marR="47301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 dirty="0">
                          <a:effectLst/>
                        </a:rPr>
                        <a:t>Without summer</a:t>
                      </a:r>
                      <a:endParaRPr lang="en-GB" sz="8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301" marR="47301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 dirty="0">
                          <a:effectLst/>
                        </a:rPr>
                        <a:t>Without autumn</a:t>
                      </a:r>
                      <a:endParaRPr lang="en-GB" sz="8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301" marR="47301" marT="0" marB="0" anchor="ctr"/>
                </a:tc>
                <a:extLst>
                  <a:ext uri="{0D108BD9-81ED-4DB2-BD59-A6C34878D82A}">
                    <a16:rowId xmlns:a16="http://schemas.microsoft.com/office/drawing/2014/main" val="2849152916"/>
                  </a:ext>
                </a:extLst>
              </a:tr>
              <a:tr h="148910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Austria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301" marR="47301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3.11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301" marR="47301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0.08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301" marR="47301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0.06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301" marR="47301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0.05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301" marR="47301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-0.05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301" marR="47301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0.03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301" marR="47301" marT="0" marB="0" anchor="ctr"/>
                </a:tc>
                <a:extLst>
                  <a:ext uri="{0D108BD9-81ED-4DB2-BD59-A6C34878D82A}">
                    <a16:rowId xmlns:a16="http://schemas.microsoft.com/office/drawing/2014/main" val="2895140789"/>
                  </a:ext>
                </a:extLst>
              </a:tr>
              <a:tr h="148910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Belgium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301" marR="47301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3.00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301" marR="47301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0.16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301" marR="47301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0.05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301" marR="47301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0.12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301" marR="47301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-0.02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301" marR="47301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0.00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301" marR="47301" marT="0" marB="0" anchor="ctr"/>
                </a:tc>
                <a:extLst>
                  <a:ext uri="{0D108BD9-81ED-4DB2-BD59-A6C34878D82A}">
                    <a16:rowId xmlns:a16="http://schemas.microsoft.com/office/drawing/2014/main" val="2756766023"/>
                  </a:ext>
                </a:extLst>
              </a:tr>
              <a:tr h="148910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Bulgaria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301" marR="47301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3.65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301" marR="47301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-0.53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301" marR="47301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-0.19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301" marR="47301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-0.18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301" marR="47301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-0.02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301" marR="47301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-0.05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301" marR="47301" marT="0" marB="0" anchor="ctr"/>
                </a:tc>
                <a:extLst>
                  <a:ext uri="{0D108BD9-81ED-4DB2-BD59-A6C34878D82A}">
                    <a16:rowId xmlns:a16="http://schemas.microsoft.com/office/drawing/2014/main" val="3688951038"/>
                  </a:ext>
                </a:extLst>
              </a:tr>
              <a:tr h="148910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Croatia</a:t>
                      </a:r>
                      <a:r>
                        <a:rPr lang="en-US" sz="800" baseline="30000">
                          <a:effectLst/>
                        </a:rPr>
                        <a:t>1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301" marR="47301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3.43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301" marR="47301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-0.06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301" marR="47301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0.04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301" marR="47301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-0.04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301" marR="47301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-0.02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301" marR="47301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-0.03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301" marR="47301" marT="0" marB="0" anchor="ctr"/>
                </a:tc>
                <a:extLst>
                  <a:ext uri="{0D108BD9-81ED-4DB2-BD59-A6C34878D82A}">
                    <a16:rowId xmlns:a16="http://schemas.microsoft.com/office/drawing/2014/main" val="3053271564"/>
                  </a:ext>
                </a:extLst>
              </a:tr>
              <a:tr h="148910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Estonia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301" marR="47301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6.66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301" marR="47301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-0.59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301" marR="47301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-0.30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301" marR="47301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-0.05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301" marR="47301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-0.04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301" marR="47301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-0.16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301" marR="47301" marT="0" marB="0" anchor="ctr"/>
                </a:tc>
                <a:extLst>
                  <a:ext uri="{0D108BD9-81ED-4DB2-BD59-A6C34878D82A}">
                    <a16:rowId xmlns:a16="http://schemas.microsoft.com/office/drawing/2014/main" val="4030960798"/>
                  </a:ext>
                </a:extLst>
              </a:tr>
              <a:tr h="148910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Finland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301" marR="47301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3.27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301" marR="47301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-0.04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301" marR="47301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0.00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301" marR="47301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-0.04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301" marR="47301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-0.08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301" marR="47301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0.08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301" marR="47301" marT="0" marB="0" anchor="ctr"/>
                </a:tc>
                <a:extLst>
                  <a:ext uri="{0D108BD9-81ED-4DB2-BD59-A6C34878D82A}">
                    <a16:rowId xmlns:a16="http://schemas.microsoft.com/office/drawing/2014/main" val="1239193929"/>
                  </a:ext>
                </a:extLst>
              </a:tr>
              <a:tr h="148910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France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301" marR="47301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2.88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301" marR="47301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0.05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301" marR="47301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0.05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301" marR="47301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0.04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301" marR="47301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-0.07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301" marR="47301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0.03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301" marR="47301" marT="0" marB="0" anchor="ctr"/>
                </a:tc>
                <a:extLst>
                  <a:ext uri="{0D108BD9-81ED-4DB2-BD59-A6C34878D82A}">
                    <a16:rowId xmlns:a16="http://schemas.microsoft.com/office/drawing/2014/main" val="1572954286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 dirty="0">
                          <a:effectLst/>
                        </a:rPr>
                        <a:t>Germany</a:t>
                      </a:r>
                      <a:endParaRPr lang="en-GB" sz="8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301" marR="47301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2.41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301" marR="47301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0.14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301" marR="47301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0.08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301" marR="47301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0.06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301" marR="47301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-0.01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301" marR="47301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0.01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301" marR="47301" marT="0" marB="0" anchor="ctr"/>
                </a:tc>
                <a:extLst>
                  <a:ext uri="{0D108BD9-81ED-4DB2-BD59-A6C34878D82A}">
                    <a16:rowId xmlns:a16="http://schemas.microsoft.com/office/drawing/2014/main" val="3563575217"/>
                  </a:ext>
                </a:extLst>
              </a:tr>
              <a:tr h="148910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Hungary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301" marR="47301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3.60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301" marR="47301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0.30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301" marR="47301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0.22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301" marR="47301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0.04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301" marR="47301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0.00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301" marR="47301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0.01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301" marR="47301" marT="0" marB="0" anchor="ctr"/>
                </a:tc>
                <a:extLst>
                  <a:ext uri="{0D108BD9-81ED-4DB2-BD59-A6C34878D82A}">
                    <a16:rowId xmlns:a16="http://schemas.microsoft.com/office/drawing/2014/main" val="4252738490"/>
                  </a:ext>
                </a:extLst>
              </a:tr>
              <a:tr h="148910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Latvia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301" marR="47301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5.01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301" marR="47301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-0.50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301" marR="47301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-0.22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301" marR="47301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-0.04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301" marR="47301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-0.06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301" marR="47301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-0.14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301" marR="47301" marT="0" marB="0" anchor="ctr"/>
                </a:tc>
                <a:extLst>
                  <a:ext uri="{0D108BD9-81ED-4DB2-BD59-A6C34878D82A}">
                    <a16:rowId xmlns:a16="http://schemas.microsoft.com/office/drawing/2014/main" val="1414464823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 dirty="0">
                          <a:effectLst/>
                        </a:rPr>
                        <a:t>Lithuania</a:t>
                      </a:r>
                      <a:endParaRPr lang="en-GB" sz="8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301" marR="47301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3.80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301" marR="47301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-0.15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301" marR="47301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-0.02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301" marR="47301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-0.07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301" marR="47301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0.07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301" marR="47301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-0.11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301" marR="47301" marT="0" marB="0" anchor="ctr"/>
                </a:tc>
                <a:extLst>
                  <a:ext uri="{0D108BD9-81ED-4DB2-BD59-A6C34878D82A}">
                    <a16:rowId xmlns:a16="http://schemas.microsoft.com/office/drawing/2014/main" val="79926268"/>
                  </a:ext>
                </a:extLst>
              </a:tr>
              <a:tr h="144000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 dirty="0">
                          <a:effectLst/>
                        </a:rPr>
                        <a:t>Netherlands</a:t>
                      </a:r>
                      <a:endParaRPr lang="en-GB" sz="8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301" marR="47301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3.11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301" marR="47301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0.22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301" marR="47301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0.10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301" marR="47301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0.09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301" marR="47301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-0.02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301" marR="47301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0.06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301" marR="47301" marT="0" marB="0" anchor="ctr"/>
                </a:tc>
                <a:extLst>
                  <a:ext uri="{0D108BD9-81ED-4DB2-BD59-A6C34878D82A}">
                    <a16:rowId xmlns:a16="http://schemas.microsoft.com/office/drawing/2014/main" val="1678895857"/>
                  </a:ext>
                </a:extLst>
              </a:tr>
              <a:tr h="148910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Norway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301" marR="47301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3.31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301" marR="47301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0.10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301" marR="47301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0.00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301" marR="47301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0.05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301" marR="47301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0.01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301" marR="47301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0.03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301" marR="47301" marT="0" marB="0" anchor="ctr"/>
                </a:tc>
                <a:extLst>
                  <a:ext uri="{0D108BD9-81ED-4DB2-BD59-A6C34878D82A}">
                    <a16:rowId xmlns:a16="http://schemas.microsoft.com/office/drawing/2014/main" val="2098818740"/>
                  </a:ext>
                </a:extLst>
              </a:tr>
              <a:tr h="148910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Poland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301" marR="47301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3.76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301" marR="47301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0.11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301" marR="47301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0.08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301" marR="47301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0.04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301" marR="47301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-0.02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301" marR="47301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0.00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301" marR="47301" marT="0" marB="0" anchor="ctr"/>
                </a:tc>
                <a:extLst>
                  <a:ext uri="{0D108BD9-81ED-4DB2-BD59-A6C34878D82A}">
                    <a16:rowId xmlns:a16="http://schemas.microsoft.com/office/drawing/2014/main" val="2724539684"/>
                  </a:ext>
                </a:extLst>
              </a:tr>
              <a:tr h="148910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Portugal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301" marR="47301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4.53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301" marR="47301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-0.19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301" marR="47301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-0.05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301" marR="47301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-0.03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301" marR="47301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-0.05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301" marR="47301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-0.02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301" marR="47301" marT="0" marB="0" anchor="ctr"/>
                </a:tc>
                <a:extLst>
                  <a:ext uri="{0D108BD9-81ED-4DB2-BD59-A6C34878D82A}">
                    <a16:rowId xmlns:a16="http://schemas.microsoft.com/office/drawing/2014/main" val="2606171941"/>
                  </a:ext>
                </a:extLst>
              </a:tr>
              <a:tr h="148910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Russia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301" marR="47301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6.86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301" marR="47301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-0.30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301" marR="47301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-0.15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301" marR="47301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-0.03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301" marR="47301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0.01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301" marR="47301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-0.11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301" marR="47301" marT="0" marB="0" anchor="ctr"/>
                </a:tc>
                <a:extLst>
                  <a:ext uri="{0D108BD9-81ED-4DB2-BD59-A6C34878D82A}">
                    <a16:rowId xmlns:a16="http://schemas.microsoft.com/office/drawing/2014/main" val="1325339658"/>
                  </a:ext>
                </a:extLst>
              </a:tr>
              <a:tr h="148910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Slovakia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301" marR="47301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3.77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301" marR="47301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0.29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301" marR="47301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0.20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301" marR="47301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0.10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301" marR="47301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0.00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301" marR="47301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-0.01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301" marR="47301" marT="0" marB="0" anchor="ctr"/>
                </a:tc>
                <a:extLst>
                  <a:ext uri="{0D108BD9-81ED-4DB2-BD59-A6C34878D82A}">
                    <a16:rowId xmlns:a16="http://schemas.microsoft.com/office/drawing/2014/main" val="3416638110"/>
                  </a:ext>
                </a:extLst>
              </a:tr>
              <a:tr h="148910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Spain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301" marR="47301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3.30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301" marR="47301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0.03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301" marR="47301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0.06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301" marR="47301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0.02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301" marR="47301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-0.06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301" marR="47301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0.01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301" marR="47301" marT="0" marB="0" anchor="ctr"/>
                </a:tc>
                <a:extLst>
                  <a:ext uri="{0D108BD9-81ED-4DB2-BD59-A6C34878D82A}">
                    <a16:rowId xmlns:a16="http://schemas.microsoft.com/office/drawing/2014/main" val="2607679055"/>
                  </a:ext>
                </a:extLst>
              </a:tr>
              <a:tr h="148910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Sweden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301" marR="47301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2.61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301" marR="47301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0.36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301" marR="47301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0.15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301" marR="47301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0.10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301" marR="47301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0.00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301" marR="47301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0.08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301" marR="47301" marT="0" marB="0" anchor="ctr"/>
                </a:tc>
                <a:extLst>
                  <a:ext uri="{0D108BD9-81ED-4DB2-BD59-A6C34878D82A}">
                    <a16:rowId xmlns:a16="http://schemas.microsoft.com/office/drawing/2014/main" val="2782291882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 dirty="0">
                          <a:effectLst/>
                        </a:rPr>
                        <a:t>Switzerland</a:t>
                      </a:r>
                      <a:endParaRPr lang="en-GB" sz="8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301" marR="47301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2.87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301" marR="47301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0.01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301" marR="47301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0.02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301" marR="47301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0.02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301" marR="47301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-0.03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301" marR="47301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-0.01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301" marR="47301" marT="0" marB="0" anchor="ctr"/>
                </a:tc>
                <a:extLst>
                  <a:ext uri="{0D108BD9-81ED-4DB2-BD59-A6C34878D82A}">
                    <a16:rowId xmlns:a16="http://schemas.microsoft.com/office/drawing/2014/main" val="1693479256"/>
                  </a:ext>
                </a:extLst>
              </a:tr>
              <a:tr h="241367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Median country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301" marR="47301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3.31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301" marR="47301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0.02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301" marR="47301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0.04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301" marR="47301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0.02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301" marR="47301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-0.03</a:t>
                      </a:r>
                      <a:endParaRPr lang="en-GB" sz="80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301" marR="47301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800" dirty="0">
                          <a:effectLst/>
                        </a:rPr>
                        <a:t>0.01</a:t>
                      </a:r>
                      <a:endParaRPr lang="en-GB" sz="8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301" marR="47301" marT="0" marB="0" anchor="ctr"/>
                </a:tc>
                <a:extLst>
                  <a:ext uri="{0D108BD9-81ED-4DB2-BD59-A6C34878D82A}">
                    <a16:rowId xmlns:a16="http://schemas.microsoft.com/office/drawing/2014/main" val="4149976002"/>
                  </a:ext>
                </a:extLst>
              </a:tr>
            </a:tbl>
          </a:graphicData>
        </a:graphic>
      </p:graphicFrame>
      <p:sp>
        <p:nvSpPr>
          <p:cNvPr id="7" name="Rectangle 1">
            <a:extLst>
              <a:ext uri="{FF2B5EF4-FFF2-40B4-BE49-F238E27FC236}">
                <a16:creationId xmlns:a16="http://schemas.microsoft.com/office/drawing/2014/main" id="{10462557-EC9E-4BEB-8594-0BBDAB15FC3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93691" y="789266"/>
            <a:ext cx="10619382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b="1" u="none" strike="noStrike" cap="none" normalizeH="0" baseline="0" dirty="0">
                <a:ln>
                  <a:noFill/>
                </a:ln>
                <a:effectLst/>
                <a:latin typeface="Malgun Gothic" panose="020B0503020000020004" pitchFamily="34" charset="-127"/>
                <a:ea typeface="Malgun Gothic" panose="020B0503020000020004" pitchFamily="34" charset="-127"/>
                <a:cs typeface="Times New Roman" panose="02020603050405020304" pitchFamily="18" charset="0"/>
              </a:rPr>
              <a:t>Impact of seasonality on the change in life expectancy at birth in selected European countries</a:t>
            </a:r>
            <a:endParaRPr kumimoji="0" lang="en-GB" altLang="en-US" sz="2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67B2EFA7-56E7-402D-804B-0DC6ED142A3C}"/>
              </a:ext>
            </a:extLst>
          </p:cNvPr>
          <p:cNvSpPr/>
          <p:nvPr/>
        </p:nvSpPr>
        <p:spPr>
          <a:xfrm>
            <a:off x="478034" y="5251371"/>
            <a:ext cx="1087157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en-US" sz="900" b="1" baseline="30000" dirty="0">
                <a:latin typeface="Malgun Gothic" panose="020B0503020000020004" pitchFamily="34" charset="-127"/>
                <a:ea typeface="Malgun Gothic" panose="020B0503020000020004" pitchFamily="34" charset="-127"/>
                <a:cs typeface="Times New Roman" panose="02020603050405020304" pitchFamily="18" charset="0"/>
              </a:rPr>
              <a:t>1</a:t>
            </a:r>
            <a:r>
              <a:rPr lang="en-US" altLang="en-US" sz="900" b="1" dirty="0">
                <a:latin typeface="Malgun Gothic" panose="020B0503020000020004" pitchFamily="34" charset="-127"/>
                <a:ea typeface="Malgun Gothic" panose="020B0503020000020004" pitchFamily="34" charset="-127"/>
                <a:cs typeface="Times New Roman" panose="02020603050405020304" pitchFamily="18" charset="0"/>
              </a:rPr>
              <a:t>data from 2001</a:t>
            </a:r>
            <a:endParaRPr lang="en-GB" sz="900" dirty="0"/>
          </a:p>
        </p:txBody>
      </p:sp>
    </p:spTree>
    <p:extLst>
      <p:ext uri="{BB962C8B-B14F-4D97-AF65-F5344CB8AC3E}">
        <p14:creationId xmlns:p14="http://schemas.microsoft.com/office/powerpoint/2010/main" val="31138766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CDC81DD4-25B1-4CB3-AEA8-753D6165E32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921741" y="1551043"/>
            <a:ext cx="5293675" cy="4004889"/>
          </a:xfrm>
        </p:spPr>
        <p:txBody>
          <a:bodyPr/>
          <a:lstStyle/>
          <a:p>
            <a:pPr indent="-285750">
              <a:lnSpc>
                <a:spcPts val="2400"/>
              </a:lnSpc>
              <a:spcBef>
                <a:spcPts val="600"/>
              </a:spcBef>
              <a:spcAft>
                <a:spcPts val="1200"/>
              </a:spcAft>
            </a:pPr>
            <a:r>
              <a:rPr lang="en-US" sz="2000" dirty="0">
                <a:latin typeface="Malgun Gothic" panose="020B0503020000020004" pitchFamily="34" charset="-127"/>
                <a:ea typeface="Malgun Gothic" panose="020B0503020000020004" pitchFamily="34" charset="-127"/>
                <a:cs typeface="Malgun Gothic Semilight" panose="020B0502040204020203" pitchFamily="34" charset="-128"/>
              </a:rPr>
              <a:t>Pivotal role in shaping current mortality trends</a:t>
            </a:r>
          </a:p>
          <a:p>
            <a:pPr marL="0" lvl="2" indent="0">
              <a:lnSpc>
                <a:spcPts val="2400"/>
              </a:lnSpc>
              <a:spcBef>
                <a:spcPts val="600"/>
              </a:spcBef>
              <a:spcAft>
                <a:spcPts val="1200"/>
              </a:spcAft>
              <a:buNone/>
            </a:pPr>
            <a:r>
              <a:rPr lang="en-US" sz="2000" dirty="0">
                <a:latin typeface="Malgun Gothic" panose="020B0503020000020004" pitchFamily="34" charset="-127"/>
                <a:ea typeface="Malgun Gothic" panose="020B0503020000020004" pitchFamily="34" charset="-127"/>
              </a:rPr>
              <a:t>Extreme temperatures </a:t>
            </a:r>
            <a:r>
              <a:rPr lang="en-US" sz="2000" dirty="0">
                <a:latin typeface="Malgun Gothic" panose="020B0503020000020004" pitchFamily="34" charset="-127"/>
                <a:ea typeface="Malgun Gothic" panose="020B0503020000020004" pitchFamily="34" charset="-127"/>
                <a:cs typeface="Calibri" panose="020F0502020204030204" pitchFamily="34" charset="0"/>
              </a:rPr>
              <a:t>→ </a:t>
            </a:r>
            <a:r>
              <a:rPr lang="en-US" sz="2000" dirty="0">
                <a:latin typeface="Malgun Gothic" panose="020B0503020000020004" pitchFamily="34" charset="-127"/>
                <a:ea typeface="Malgun Gothic" panose="020B0503020000020004" pitchFamily="34" charset="-127"/>
              </a:rPr>
              <a:t>higher mortality rates </a:t>
            </a:r>
            <a:r>
              <a:rPr lang="en-US" sz="1400" i="1" dirty="0">
                <a:latin typeface="Malgun Gothic" panose="020B0503020000020004" pitchFamily="34" charset="-127"/>
                <a:ea typeface="Malgun Gothic" panose="020B0503020000020004" pitchFamily="34" charset="-127"/>
              </a:rPr>
              <a:t>(</a:t>
            </a:r>
            <a:r>
              <a:rPr lang="en-US" sz="1400" i="1" dirty="0" err="1">
                <a:latin typeface="Malgun Gothic" panose="020B0503020000020004" pitchFamily="34" charset="-127"/>
                <a:ea typeface="Malgun Gothic" panose="020B0503020000020004" pitchFamily="34" charset="-127"/>
              </a:rPr>
              <a:t>Zanobetti</a:t>
            </a:r>
            <a:r>
              <a:rPr lang="en-US" sz="1400" i="1" dirty="0">
                <a:latin typeface="Malgun Gothic" panose="020B0503020000020004" pitchFamily="34" charset="-127"/>
                <a:ea typeface="Malgun Gothic" panose="020B0503020000020004" pitchFamily="34" charset="-127"/>
              </a:rPr>
              <a:t> et al. 2012)</a:t>
            </a:r>
          </a:p>
          <a:p>
            <a:pPr marL="0" lvl="2" indent="0">
              <a:lnSpc>
                <a:spcPts val="2400"/>
              </a:lnSpc>
              <a:spcBef>
                <a:spcPts val="600"/>
              </a:spcBef>
              <a:spcAft>
                <a:spcPts val="1200"/>
              </a:spcAft>
              <a:buNone/>
            </a:pPr>
            <a:r>
              <a:rPr lang="en-US" sz="2000" dirty="0">
                <a:latin typeface="Malgun Gothic" panose="020B0503020000020004" pitchFamily="34" charset="-127"/>
                <a:ea typeface="Malgun Gothic" panose="020B0503020000020004" pitchFamily="34" charset="-127"/>
              </a:rPr>
              <a:t>Temperate climates have </a:t>
            </a:r>
            <a:r>
              <a:rPr lang="en-US" sz="2000" b="1" dirty="0">
                <a:latin typeface="Malgun Gothic" panose="020B0503020000020004" pitchFamily="34" charset="-127"/>
                <a:ea typeface="Malgun Gothic" panose="020B0503020000020004" pitchFamily="34" charset="-127"/>
              </a:rPr>
              <a:t>higher </a:t>
            </a:r>
            <a:r>
              <a:rPr lang="en-US" sz="2000" dirty="0">
                <a:latin typeface="Malgun Gothic" panose="020B0503020000020004" pitchFamily="34" charset="-127"/>
                <a:ea typeface="Malgun Gothic" panose="020B0503020000020004" pitchFamily="34" charset="-127"/>
              </a:rPr>
              <a:t>mortality rates in </a:t>
            </a:r>
            <a:r>
              <a:rPr lang="en-US" sz="2000" b="1" dirty="0">
                <a:latin typeface="Malgun Gothic" panose="020B0503020000020004" pitchFamily="34" charset="-127"/>
                <a:ea typeface="Malgun Gothic" panose="020B0503020000020004" pitchFamily="34" charset="-127"/>
              </a:rPr>
              <a:t>winter</a:t>
            </a:r>
            <a:r>
              <a:rPr lang="en-US" sz="2000" dirty="0">
                <a:latin typeface="Malgun Gothic" panose="020B0503020000020004" pitchFamily="34" charset="-127"/>
                <a:ea typeface="Malgun Gothic" panose="020B0503020000020004" pitchFamily="34" charset="-127"/>
              </a:rPr>
              <a:t> than </a:t>
            </a:r>
            <a:r>
              <a:rPr lang="en-US" sz="2000" b="1" dirty="0">
                <a:latin typeface="Malgun Gothic" panose="020B0503020000020004" pitchFamily="34" charset="-127"/>
                <a:ea typeface="Malgun Gothic" panose="020B0503020000020004" pitchFamily="34" charset="-127"/>
              </a:rPr>
              <a:t>summer</a:t>
            </a:r>
            <a:r>
              <a:rPr lang="en-US" sz="2000" dirty="0">
                <a:latin typeface="Malgun Gothic" panose="020B0503020000020004" pitchFamily="34" charset="-127"/>
                <a:ea typeface="Malgun Gothic" panose="020B0503020000020004" pitchFamily="34" charset="-127"/>
              </a:rPr>
              <a:t> </a:t>
            </a:r>
            <a:r>
              <a:rPr lang="en-US" sz="1400" i="1" dirty="0">
                <a:latin typeface="Malgun Gothic" panose="020B0503020000020004" pitchFamily="34" charset="-127"/>
                <a:ea typeface="Malgun Gothic" panose="020B0503020000020004" pitchFamily="34" charset="-127"/>
              </a:rPr>
              <a:t>(Rau 2006)</a:t>
            </a:r>
          </a:p>
          <a:p>
            <a:pPr indent="-285750">
              <a:lnSpc>
                <a:spcPts val="2400"/>
              </a:lnSpc>
              <a:spcBef>
                <a:spcPts val="600"/>
              </a:spcBef>
              <a:spcAft>
                <a:spcPts val="1200"/>
              </a:spcAft>
            </a:pPr>
            <a:r>
              <a:rPr lang="en-US" sz="2000" b="1" dirty="0">
                <a:latin typeface="Malgun Gothic" panose="020B0503020000020004" pitchFamily="34" charset="-127"/>
                <a:ea typeface="Malgun Gothic" panose="020B0503020000020004" pitchFamily="34" charset="-127"/>
              </a:rPr>
              <a:t>20</a:t>
            </a:r>
            <a:r>
              <a:rPr lang="en-US" sz="2000" b="1" baseline="30000" dirty="0">
                <a:latin typeface="Malgun Gothic" panose="020B0503020000020004" pitchFamily="34" charset="-127"/>
                <a:ea typeface="Malgun Gothic" panose="020B0503020000020004" pitchFamily="34" charset="-127"/>
              </a:rPr>
              <a:t>th</a:t>
            </a:r>
            <a:r>
              <a:rPr lang="en-US" sz="2000" b="1" dirty="0">
                <a:latin typeface="Malgun Gothic" panose="020B0503020000020004" pitchFamily="34" charset="-127"/>
                <a:ea typeface="Malgun Gothic" panose="020B0503020000020004" pitchFamily="34" charset="-127"/>
              </a:rPr>
              <a:t> century</a:t>
            </a:r>
            <a:r>
              <a:rPr lang="en-US" sz="2000" dirty="0">
                <a:latin typeface="Malgun Gothic" panose="020B0503020000020004" pitchFamily="34" charset="-127"/>
                <a:ea typeface="Malgun Gothic" panose="020B0503020000020004" pitchFamily="34" charset="-127"/>
              </a:rPr>
              <a:t>: seasonal mortality </a:t>
            </a:r>
            <a:r>
              <a:rPr lang="en-US" sz="2000" b="1" dirty="0">
                <a:latin typeface="Malgun Gothic" panose="020B0503020000020004" pitchFamily="34" charset="-127"/>
                <a:ea typeface="Malgun Gothic" panose="020B0503020000020004" pitchFamily="34" charset="-127"/>
              </a:rPr>
              <a:t>lessened</a:t>
            </a:r>
            <a:r>
              <a:rPr lang="en-US" sz="2000" dirty="0">
                <a:latin typeface="Malgun Gothic" panose="020B0503020000020004" pitchFamily="34" charset="-127"/>
                <a:ea typeface="Malgun Gothic" panose="020B0503020000020004" pitchFamily="34" charset="-127"/>
              </a:rPr>
              <a:t> due to economic, scientific and medical development </a:t>
            </a:r>
            <a:r>
              <a:rPr lang="en-US" sz="2000" dirty="0">
                <a:latin typeface="Malgun Gothic" panose="020B0503020000020004" pitchFamily="34" charset="-127"/>
                <a:ea typeface="Malgun Gothic" panose="020B0503020000020004" pitchFamily="34" charset="-127"/>
                <a:cs typeface="Calibri" panose="020F0502020204030204" pitchFamily="34" charset="0"/>
              </a:rPr>
              <a:t>→ increased </a:t>
            </a:r>
            <a:r>
              <a:rPr lang="en-US" sz="2000" dirty="0">
                <a:latin typeface="Malgun Gothic" panose="020B0503020000020004" pitchFamily="34" charset="-127"/>
                <a:ea typeface="Malgun Gothic" panose="020B0503020000020004" pitchFamily="34" charset="-127"/>
              </a:rPr>
              <a:t>heterogeneity between countries                                 </a:t>
            </a:r>
            <a:r>
              <a:rPr lang="en-US" sz="1400" i="1" dirty="0">
                <a:latin typeface="Malgun Gothic" panose="020B0503020000020004" pitchFamily="34" charset="-127"/>
                <a:ea typeface="Malgun Gothic" panose="020B0503020000020004" pitchFamily="34" charset="-127"/>
              </a:rPr>
              <a:t>(Sakamoto-</a:t>
            </a:r>
            <a:r>
              <a:rPr lang="en-US" sz="1400" i="1" dirty="0" err="1">
                <a:latin typeface="Malgun Gothic" panose="020B0503020000020004" pitchFamily="34" charset="-127"/>
                <a:ea typeface="Malgun Gothic" panose="020B0503020000020004" pitchFamily="34" charset="-127"/>
              </a:rPr>
              <a:t>Momiyama</a:t>
            </a:r>
            <a:r>
              <a:rPr lang="en-US" sz="1400" i="1" dirty="0">
                <a:latin typeface="Malgun Gothic" panose="020B0503020000020004" pitchFamily="34" charset="-127"/>
                <a:ea typeface="Malgun Gothic" panose="020B0503020000020004" pitchFamily="34" charset="-127"/>
              </a:rPr>
              <a:t> 1978)</a:t>
            </a:r>
          </a:p>
          <a:p>
            <a:pPr marL="285750" indent="-285750">
              <a:spcBef>
                <a:spcPts val="1200"/>
              </a:spcBef>
              <a:spcAft>
                <a:spcPts val="1200"/>
              </a:spcAft>
            </a:pPr>
            <a:endParaRPr lang="en-US" sz="1600" i="1" dirty="0">
              <a:latin typeface="Malgun Gothic" panose="020B0503020000020004" pitchFamily="34" charset="-127"/>
              <a:ea typeface="Malgun Gothic" panose="020B0503020000020004" pitchFamily="34" charset="-127"/>
              <a:cs typeface="Malgun Gothic Semilight" panose="020B0502040204020203" pitchFamily="34" charset="-128"/>
            </a:endParaRPr>
          </a:p>
          <a:p>
            <a:pPr marL="285750" indent="-285750">
              <a:spcBef>
                <a:spcPts val="1200"/>
              </a:spcBef>
              <a:spcAft>
                <a:spcPts val="1200"/>
              </a:spcAft>
            </a:pPr>
            <a:endParaRPr lang="en-US" sz="1600" i="1" dirty="0">
              <a:latin typeface="Malgun Gothic" panose="020B0503020000020004" pitchFamily="34" charset="-127"/>
              <a:ea typeface="Malgun Gothic" panose="020B0503020000020004" pitchFamily="34" charset="-127"/>
              <a:cs typeface="Malgun Gothic Semilight" panose="020B0502040204020203" pitchFamily="34" charset="-128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AE2F2A8-8119-44C9-9F9F-CA0AF9B665F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en-US"/>
              <a:t>Max Planck Institute for demographic research                                                                                                                                                                               SEASONAL MORTALITY IN EUROPE | 26/09/2024</a:t>
            </a:r>
            <a:endParaRPr lang="de-DE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17D34C5-D9A1-4754-95C6-712145D10AF7}"/>
              </a:ext>
            </a:extLst>
          </p:cNvPr>
          <p:cNvSpPr txBox="1"/>
          <p:nvPr/>
        </p:nvSpPr>
        <p:spPr>
          <a:xfrm>
            <a:off x="6865681" y="5841898"/>
            <a:ext cx="4642529" cy="232436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ctr">
              <a:lnSpc>
                <a:spcPts val="900"/>
              </a:lnSpc>
            </a:pPr>
            <a:r>
              <a:rPr lang="en-US" sz="900" dirty="0" err="1">
                <a:solidFill>
                  <a:schemeClr val="bg1">
                    <a:lumMod val="65000"/>
                  </a:schemeClr>
                </a:solidFill>
                <a:latin typeface="Malgun Gothic Semilight" panose="020B0502040204020203" pitchFamily="34" charset="-128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Quijal</a:t>
            </a:r>
            <a:r>
              <a:rPr lang="en-US" sz="900" dirty="0">
                <a:solidFill>
                  <a:schemeClr val="bg1">
                    <a:lumMod val="65000"/>
                  </a:schemeClr>
                </a:solidFill>
                <a:latin typeface="Malgun Gothic Semilight" panose="020B0502040204020203" pitchFamily="34" charset="-128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-Zamorano M. et al. (2021) </a:t>
            </a:r>
            <a:r>
              <a:rPr lang="en-US" sz="900" i="1" dirty="0">
                <a:solidFill>
                  <a:schemeClr val="bg1">
                    <a:lumMod val="65000"/>
                  </a:schemeClr>
                </a:solidFill>
                <a:latin typeface="Malgun Gothic Semilight" panose="020B0502040204020203" pitchFamily="34" charset="-128"/>
                <a:ea typeface="Malgun Gothic Semilight" panose="020B0502040204020203" pitchFamily="34" charset="-128"/>
                <a:cs typeface="Malgun Gothic Semilight" panose="020B0502040204020203" pitchFamily="34" charset="-128"/>
              </a:rPr>
              <a:t>Seasonality reversal of temperature attributable mortality projections due to previously unobserved extreme heat in Europ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39F485AE-252B-46BF-A90D-1EE716BCB01B}"/>
              </a:ext>
            </a:extLst>
          </p:cNvPr>
          <p:cNvGrpSpPr/>
          <p:nvPr/>
        </p:nvGrpSpPr>
        <p:grpSpPr>
          <a:xfrm>
            <a:off x="6546227" y="1756306"/>
            <a:ext cx="5499549" cy="3799626"/>
            <a:chOff x="6957507" y="2375072"/>
            <a:chExt cx="5163962" cy="3451674"/>
          </a:xfrm>
        </p:grpSpPr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444227A3-E01B-4ACE-BF39-F74F01BE8F44}"/>
                </a:ext>
              </a:extLst>
            </p:cNvPr>
            <p:cNvGrpSpPr/>
            <p:nvPr/>
          </p:nvGrpSpPr>
          <p:grpSpPr>
            <a:xfrm>
              <a:off x="6957507" y="2748852"/>
              <a:ext cx="4367990" cy="3077894"/>
              <a:chOff x="6732661" y="2514600"/>
              <a:chExt cx="2639089" cy="1780000"/>
            </a:xfrm>
          </p:grpSpPr>
          <p:pic>
            <p:nvPicPr>
              <p:cNvPr id="14" name="Picture 13">
                <a:extLst>
                  <a:ext uri="{FF2B5EF4-FFF2-40B4-BE49-F238E27FC236}">
                    <a16:creationId xmlns:a16="http://schemas.microsoft.com/office/drawing/2014/main" id="{ABB2C4E8-2825-4512-A5D9-537BB2045DF9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16522" r="46481" b="53048"/>
              <a:stretch/>
            </p:blipFill>
            <p:spPr>
              <a:xfrm>
                <a:off x="6732661" y="2514600"/>
                <a:ext cx="2639089" cy="1202267"/>
              </a:xfrm>
              <a:prstGeom prst="rect">
                <a:avLst/>
              </a:prstGeom>
            </p:spPr>
          </p:pic>
          <p:pic>
            <p:nvPicPr>
              <p:cNvPr id="15" name="Picture 14">
                <a:extLst>
                  <a:ext uri="{FF2B5EF4-FFF2-40B4-BE49-F238E27FC236}">
                    <a16:creationId xmlns:a16="http://schemas.microsoft.com/office/drawing/2014/main" id="{D7866F66-52A7-4073-A826-110A7F5A1598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84863" r="46481"/>
              <a:stretch/>
            </p:blipFill>
            <p:spPr>
              <a:xfrm>
                <a:off x="6732661" y="3696554"/>
                <a:ext cx="2639089" cy="598046"/>
              </a:xfrm>
              <a:prstGeom prst="rect">
                <a:avLst/>
              </a:prstGeom>
            </p:spPr>
          </p:pic>
        </p:grpSp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3B60C74A-8005-4252-B2CB-2AD113F0A0F6}"/>
                </a:ext>
              </a:extLst>
            </p:cNvPr>
            <p:cNvGrpSpPr/>
            <p:nvPr/>
          </p:nvGrpSpPr>
          <p:grpSpPr>
            <a:xfrm>
              <a:off x="9945463" y="2803533"/>
              <a:ext cx="1138444" cy="554372"/>
              <a:chOff x="8624663" y="2015830"/>
              <a:chExt cx="1138444" cy="554372"/>
            </a:xfrm>
          </p:grpSpPr>
          <p:pic>
            <p:nvPicPr>
              <p:cNvPr id="12" name="Picture 11">
                <a:extLst>
                  <a:ext uri="{FF2B5EF4-FFF2-40B4-BE49-F238E27FC236}">
                    <a16:creationId xmlns:a16="http://schemas.microsoft.com/office/drawing/2014/main" id="{F55C3C86-B0C1-4564-B416-A908AF08CE55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53194" t="5165" r="30608" b="83459"/>
              <a:stretch/>
            </p:blipFill>
            <p:spPr>
              <a:xfrm>
                <a:off x="8624663" y="2120770"/>
                <a:ext cx="798738" cy="449432"/>
              </a:xfrm>
              <a:prstGeom prst="rect">
                <a:avLst/>
              </a:prstGeom>
            </p:spPr>
          </p:pic>
          <p:pic>
            <p:nvPicPr>
              <p:cNvPr id="13" name="Picture 12">
                <a:extLst>
                  <a:ext uri="{FF2B5EF4-FFF2-40B4-BE49-F238E27FC236}">
                    <a16:creationId xmlns:a16="http://schemas.microsoft.com/office/drawing/2014/main" id="{94C1EB80-FE19-4A4C-9A5C-F4E2F8E20741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7864" t="9344" r="69214" b="87334"/>
              <a:stretch/>
            </p:blipFill>
            <p:spPr>
              <a:xfrm>
                <a:off x="8632807" y="2015830"/>
                <a:ext cx="1130300" cy="131233"/>
              </a:xfrm>
              <a:prstGeom prst="rect">
                <a:avLst/>
              </a:prstGeom>
            </p:spPr>
          </p:pic>
        </p:grpSp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0F0021BF-ECAA-438E-84F7-3100074CB59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865" t="772" r="46481" b="94384"/>
            <a:stretch/>
          </p:blipFill>
          <p:spPr>
            <a:xfrm>
              <a:off x="8468154" y="2375072"/>
              <a:ext cx="3653315" cy="310561"/>
            </a:xfrm>
            <a:prstGeom prst="rect">
              <a:avLst/>
            </a:prstGeom>
          </p:spPr>
        </p:pic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D2AF5CC6-F38F-4D52-AC4F-9997A66632F3}"/>
                </a:ext>
              </a:extLst>
            </p:cNvPr>
            <p:cNvSpPr/>
            <p:nvPr/>
          </p:nvSpPr>
          <p:spPr>
            <a:xfrm>
              <a:off x="10661650" y="3206750"/>
              <a:ext cx="191351" cy="115964"/>
            </a:xfrm>
            <a:prstGeom prst="rect">
              <a:avLst/>
            </a:prstGeom>
            <a:solidFill>
              <a:schemeClr val="bg1"/>
            </a:solidFill>
            <a:ln w="19050" cmpd="sng">
              <a:noFill/>
              <a:prstDash val="dash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/>
            <a:lstStyle/>
            <a:p>
              <a:pPr algn="l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en-US" sz="1300" b="1" dirty="0">
                <a:solidFill>
                  <a:schemeClr val="bg1"/>
                </a:solidFill>
              </a:endParaRP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0C5D074C-602A-4124-9331-1AC37C0E53A4}"/>
                </a:ext>
              </a:extLst>
            </p:cNvPr>
            <p:cNvSpPr/>
            <p:nvPr/>
          </p:nvSpPr>
          <p:spPr>
            <a:xfrm>
              <a:off x="10722702" y="3080728"/>
              <a:ext cx="191351" cy="115964"/>
            </a:xfrm>
            <a:prstGeom prst="rect">
              <a:avLst/>
            </a:prstGeom>
            <a:solidFill>
              <a:schemeClr val="bg1"/>
            </a:solidFill>
            <a:ln w="19050" cmpd="sng">
              <a:noFill/>
              <a:prstDash val="dash"/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144000" tIns="108000" rIns="144000" bIns="144000" rtlCol="0" anchor="t" anchorCtr="0"/>
            <a:lstStyle/>
            <a:p>
              <a:pPr algn="l">
                <a:spcBef>
                  <a:spcPts val="1150"/>
                </a:spcBef>
                <a:buClr>
                  <a:srgbClr val="116656"/>
                </a:buClr>
                <a:buSzPct val="120000"/>
              </a:pPr>
              <a:endParaRPr lang="en-US" sz="1300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18" name="Title 4">
            <a:extLst>
              <a:ext uri="{FF2B5EF4-FFF2-40B4-BE49-F238E27FC236}">
                <a16:creationId xmlns:a16="http://schemas.microsoft.com/office/drawing/2014/main" id="{AE38C812-A615-4027-AAE5-4A2783DA47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8" y="779020"/>
            <a:ext cx="10296524" cy="594372"/>
          </a:xfrm>
        </p:spPr>
        <p:txBody>
          <a:bodyPr/>
          <a:lstStyle/>
          <a:p>
            <a:r>
              <a:rPr lang="en-US" sz="2400" dirty="0">
                <a:latin typeface="Malgun Gothic" panose="020B0503020000020004" pitchFamily="34" charset="-127"/>
                <a:ea typeface="Malgun Gothic" panose="020B0503020000020004" pitchFamily="34" charset="-127"/>
              </a:rPr>
              <a:t>seasonality</a:t>
            </a:r>
            <a:endParaRPr lang="en-US" dirty="0">
              <a:latin typeface="Malgun Gothic" panose="020B0503020000020004" pitchFamily="34" charset="-127"/>
              <a:ea typeface="Malgun Gothic" panose="020B0503020000020004" pitchFamily="34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57398825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490EE45-C134-4609-8615-545CD200CFD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en-US" dirty="0">
                <a:latin typeface="Malgun Gothic" panose="020B0503020000020004" pitchFamily="34" charset="-127"/>
                <a:ea typeface="Malgun Gothic" panose="020B0503020000020004" pitchFamily="34" charset="-127"/>
              </a:rPr>
              <a:t>Max Planck Institute for demographic research                                                                                                                                                                    SEASONAL MORTALITY IN EUROPE | 26/09/2024</a:t>
            </a:r>
            <a:endParaRPr lang="de-DE" dirty="0">
              <a:latin typeface="Malgun Gothic" panose="020B0503020000020004" pitchFamily="34" charset="-127"/>
              <a:ea typeface="Malgun Gothic" panose="020B0503020000020004" pitchFamily="34" charset="-127"/>
            </a:endParaRPr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B4F41A46-910D-4AE4-8677-57F318AC2042}"/>
              </a:ext>
            </a:extLst>
          </p:cNvPr>
          <p:cNvSpPr/>
          <p:nvPr/>
        </p:nvSpPr>
        <p:spPr>
          <a:xfrm>
            <a:off x="947739" y="2895428"/>
            <a:ext cx="2370496" cy="1360775"/>
          </a:xfrm>
          <a:custGeom>
            <a:avLst/>
            <a:gdLst>
              <a:gd name="connsiteX0" fmla="*/ 0 w 1779984"/>
              <a:gd name="connsiteY0" fmla="*/ 192835 h 1156989"/>
              <a:gd name="connsiteX1" fmla="*/ 192835 w 1779984"/>
              <a:gd name="connsiteY1" fmla="*/ 0 h 1156989"/>
              <a:gd name="connsiteX2" fmla="*/ 1587149 w 1779984"/>
              <a:gd name="connsiteY2" fmla="*/ 0 h 1156989"/>
              <a:gd name="connsiteX3" fmla="*/ 1779984 w 1779984"/>
              <a:gd name="connsiteY3" fmla="*/ 192835 h 1156989"/>
              <a:gd name="connsiteX4" fmla="*/ 1779984 w 1779984"/>
              <a:gd name="connsiteY4" fmla="*/ 964154 h 1156989"/>
              <a:gd name="connsiteX5" fmla="*/ 1587149 w 1779984"/>
              <a:gd name="connsiteY5" fmla="*/ 1156989 h 1156989"/>
              <a:gd name="connsiteX6" fmla="*/ 192835 w 1779984"/>
              <a:gd name="connsiteY6" fmla="*/ 1156989 h 1156989"/>
              <a:gd name="connsiteX7" fmla="*/ 0 w 1779984"/>
              <a:gd name="connsiteY7" fmla="*/ 964154 h 1156989"/>
              <a:gd name="connsiteX8" fmla="*/ 0 w 1779984"/>
              <a:gd name="connsiteY8" fmla="*/ 192835 h 11569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779984" h="1156989">
                <a:moveTo>
                  <a:pt x="0" y="192835"/>
                </a:moveTo>
                <a:cubicBezTo>
                  <a:pt x="0" y="86335"/>
                  <a:pt x="86335" y="0"/>
                  <a:pt x="192835" y="0"/>
                </a:cubicBezTo>
                <a:lnTo>
                  <a:pt x="1587149" y="0"/>
                </a:lnTo>
                <a:cubicBezTo>
                  <a:pt x="1693649" y="0"/>
                  <a:pt x="1779984" y="86335"/>
                  <a:pt x="1779984" y="192835"/>
                </a:cubicBezTo>
                <a:lnTo>
                  <a:pt x="1779984" y="964154"/>
                </a:lnTo>
                <a:cubicBezTo>
                  <a:pt x="1779984" y="1070654"/>
                  <a:pt x="1693649" y="1156989"/>
                  <a:pt x="1587149" y="1156989"/>
                </a:cubicBezTo>
                <a:lnTo>
                  <a:pt x="192835" y="1156989"/>
                </a:lnTo>
                <a:cubicBezTo>
                  <a:pt x="86335" y="1156989"/>
                  <a:pt x="0" y="1070654"/>
                  <a:pt x="0" y="964154"/>
                </a:cubicBezTo>
                <a:lnTo>
                  <a:pt x="0" y="192835"/>
                </a:lnTo>
                <a:close/>
              </a:path>
            </a:pathLst>
          </a:custGeom>
          <a:solidFill>
            <a:srgbClr val="009DA0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220310" tIns="220310" rIns="220310" bIns="220310" numCol="1" spcCol="1270" anchor="ctr" anchorCtr="0">
            <a:noAutofit/>
          </a:bodyPr>
          <a:lstStyle/>
          <a:p>
            <a:pPr lvl="0" algn="ctr" defTabSz="19113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2400" b="1" dirty="0">
                <a:latin typeface="Malgun Gothic" panose="020B0503020000020004" pitchFamily="34" charset="-127"/>
                <a:ea typeface="Malgun Gothic" panose="020B0503020000020004" pitchFamily="34" charset="-127"/>
              </a:rPr>
              <a:t>Ageing populations</a:t>
            </a:r>
            <a:endParaRPr lang="en-GB" sz="2400" b="1" dirty="0">
              <a:latin typeface="Malgun Gothic" panose="020B0503020000020004" pitchFamily="34" charset="-127"/>
              <a:ea typeface="Malgun Gothic" panose="020B0503020000020004" pitchFamily="34" charset="-127"/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B359C913-FD9F-4832-A2AB-EC107E088402}"/>
              </a:ext>
            </a:extLst>
          </p:cNvPr>
          <p:cNvSpPr/>
          <p:nvPr/>
        </p:nvSpPr>
        <p:spPr>
          <a:xfrm>
            <a:off x="947739" y="4657381"/>
            <a:ext cx="2370496" cy="1360775"/>
          </a:xfrm>
          <a:custGeom>
            <a:avLst/>
            <a:gdLst>
              <a:gd name="connsiteX0" fmla="*/ 0 w 1779984"/>
              <a:gd name="connsiteY0" fmla="*/ 192835 h 1156989"/>
              <a:gd name="connsiteX1" fmla="*/ 192835 w 1779984"/>
              <a:gd name="connsiteY1" fmla="*/ 0 h 1156989"/>
              <a:gd name="connsiteX2" fmla="*/ 1587149 w 1779984"/>
              <a:gd name="connsiteY2" fmla="*/ 0 h 1156989"/>
              <a:gd name="connsiteX3" fmla="*/ 1779984 w 1779984"/>
              <a:gd name="connsiteY3" fmla="*/ 192835 h 1156989"/>
              <a:gd name="connsiteX4" fmla="*/ 1779984 w 1779984"/>
              <a:gd name="connsiteY4" fmla="*/ 964154 h 1156989"/>
              <a:gd name="connsiteX5" fmla="*/ 1587149 w 1779984"/>
              <a:gd name="connsiteY5" fmla="*/ 1156989 h 1156989"/>
              <a:gd name="connsiteX6" fmla="*/ 192835 w 1779984"/>
              <a:gd name="connsiteY6" fmla="*/ 1156989 h 1156989"/>
              <a:gd name="connsiteX7" fmla="*/ 0 w 1779984"/>
              <a:gd name="connsiteY7" fmla="*/ 964154 h 1156989"/>
              <a:gd name="connsiteX8" fmla="*/ 0 w 1779984"/>
              <a:gd name="connsiteY8" fmla="*/ 192835 h 11569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779984" h="1156989">
                <a:moveTo>
                  <a:pt x="0" y="192835"/>
                </a:moveTo>
                <a:cubicBezTo>
                  <a:pt x="0" y="86335"/>
                  <a:pt x="86335" y="0"/>
                  <a:pt x="192835" y="0"/>
                </a:cubicBezTo>
                <a:lnTo>
                  <a:pt x="1587149" y="0"/>
                </a:lnTo>
                <a:cubicBezTo>
                  <a:pt x="1693649" y="0"/>
                  <a:pt x="1779984" y="86335"/>
                  <a:pt x="1779984" y="192835"/>
                </a:cubicBezTo>
                <a:lnTo>
                  <a:pt x="1779984" y="964154"/>
                </a:lnTo>
                <a:cubicBezTo>
                  <a:pt x="1779984" y="1070654"/>
                  <a:pt x="1693649" y="1156989"/>
                  <a:pt x="1587149" y="1156989"/>
                </a:cubicBezTo>
                <a:lnTo>
                  <a:pt x="192835" y="1156989"/>
                </a:lnTo>
                <a:cubicBezTo>
                  <a:pt x="86335" y="1156989"/>
                  <a:pt x="0" y="1070654"/>
                  <a:pt x="0" y="964154"/>
                </a:cubicBezTo>
                <a:lnTo>
                  <a:pt x="0" y="192835"/>
                </a:lnTo>
                <a:close/>
              </a:path>
            </a:pathLst>
          </a:custGeom>
          <a:solidFill>
            <a:srgbClr val="009DA0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220310" tIns="220310" rIns="220310" bIns="220310" numCol="1" spcCol="1270" anchor="ctr" anchorCtr="0">
            <a:noAutofit/>
          </a:bodyPr>
          <a:lstStyle/>
          <a:p>
            <a:pPr lvl="0" algn="ctr" defTabSz="19113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2400" b="1" dirty="0">
                <a:latin typeface="Malgun Gothic" panose="020B0503020000020004" pitchFamily="34" charset="-127"/>
                <a:ea typeface="Malgun Gothic" panose="020B0503020000020004" pitchFamily="34" charset="-127"/>
              </a:rPr>
              <a:t>Climate change</a:t>
            </a:r>
            <a:endParaRPr lang="en-GB" sz="2400" b="1" dirty="0">
              <a:latin typeface="Malgun Gothic" panose="020B0503020000020004" pitchFamily="34" charset="-127"/>
              <a:ea typeface="Malgun Gothic" panose="020B0503020000020004" pitchFamily="34" charset="-127"/>
            </a:endParaRPr>
          </a:p>
        </p:txBody>
      </p: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29CA4C78-901E-4A74-91E5-CE4F46F6868F}"/>
              </a:ext>
            </a:extLst>
          </p:cNvPr>
          <p:cNvSpPr/>
          <p:nvPr/>
        </p:nvSpPr>
        <p:spPr>
          <a:xfrm>
            <a:off x="947739" y="1099619"/>
            <a:ext cx="2370496" cy="1360775"/>
          </a:xfrm>
          <a:custGeom>
            <a:avLst/>
            <a:gdLst>
              <a:gd name="connsiteX0" fmla="*/ 0 w 1779984"/>
              <a:gd name="connsiteY0" fmla="*/ 192835 h 1156989"/>
              <a:gd name="connsiteX1" fmla="*/ 192835 w 1779984"/>
              <a:gd name="connsiteY1" fmla="*/ 0 h 1156989"/>
              <a:gd name="connsiteX2" fmla="*/ 1587149 w 1779984"/>
              <a:gd name="connsiteY2" fmla="*/ 0 h 1156989"/>
              <a:gd name="connsiteX3" fmla="*/ 1779984 w 1779984"/>
              <a:gd name="connsiteY3" fmla="*/ 192835 h 1156989"/>
              <a:gd name="connsiteX4" fmla="*/ 1779984 w 1779984"/>
              <a:gd name="connsiteY4" fmla="*/ 964154 h 1156989"/>
              <a:gd name="connsiteX5" fmla="*/ 1587149 w 1779984"/>
              <a:gd name="connsiteY5" fmla="*/ 1156989 h 1156989"/>
              <a:gd name="connsiteX6" fmla="*/ 192835 w 1779984"/>
              <a:gd name="connsiteY6" fmla="*/ 1156989 h 1156989"/>
              <a:gd name="connsiteX7" fmla="*/ 0 w 1779984"/>
              <a:gd name="connsiteY7" fmla="*/ 964154 h 1156989"/>
              <a:gd name="connsiteX8" fmla="*/ 0 w 1779984"/>
              <a:gd name="connsiteY8" fmla="*/ 192835 h 11569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779984" h="1156989">
                <a:moveTo>
                  <a:pt x="0" y="192835"/>
                </a:moveTo>
                <a:cubicBezTo>
                  <a:pt x="0" y="86335"/>
                  <a:pt x="86335" y="0"/>
                  <a:pt x="192835" y="0"/>
                </a:cubicBezTo>
                <a:lnTo>
                  <a:pt x="1587149" y="0"/>
                </a:lnTo>
                <a:cubicBezTo>
                  <a:pt x="1693649" y="0"/>
                  <a:pt x="1779984" y="86335"/>
                  <a:pt x="1779984" y="192835"/>
                </a:cubicBezTo>
                <a:lnTo>
                  <a:pt x="1779984" y="964154"/>
                </a:lnTo>
                <a:cubicBezTo>
                  <a:pt x="1779984" y="1070654"/>
                  <a:pt x="1693649" y="1156989"/>
                  <a:pt x="1587149" y="1156989"/>
                </a:cubicBezTo>
                <a:lnTo>
                  <a:pt x="192835" y="1156989"/>
                </a:lnTo>
                <a:cubicBezTo>
                  <a:pt x="86335" y="1156989"/>
                  <a:pt x="0" y="1070654"/>
                  <a:pt x="0" y="964154"/>
                </a:cubicBezTo>
                <a:lnTo>
                  <a:pt x="0" y="192835"/>
                </a:lnTo>
                <a:close/>
              </a:path>
            </a:pathLst>
          </a:custGeom>
          <a:solidFill>
            <a:srgbClr val="005869">
              <a:alpha val="42000"/>
            </a:srgb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220310" tIns="220310" rIns="220310" bIns="220310" numCol="1" spcCol="1270" anchor="ctr" anchorCtr="0">
            <a:noAutofit/>
          </a:bodyPr>
          <a:lstStyle/>
          <a:p>
            <a:pPr marL="0" lvl="0" indent="0" algn="ctr" defTabSz="19113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2400" b="1" kern="1200" dirty="0">
                <a:solidFill>
                  <a:schemeClr val="bg1">
                    <a:lumMod val="95000"/>
                  </a:schemeClr>
                </a:solidFill>
                <a:latin typeface="Malgun Gothic" panose="020B0503020000020004" pitchFamily="34" charset="-127"/>
                <a:ea typeface="Malgun Gothic" panose="020B0503020000020004" pitchFamily="34" charset="-127"/>
              </a:rPr>
              <a:t>Seasonality in mortality</a:t>
            </a:r>
            <a:endParaRPr lang="en-GB" sz="2400" b="1" kern="1200" dirty="0">
              <a:solidFill>
                <a:schemeClr val="bg1">
                  <a:lumMod val="95000"/>
                </a:schemeClr>
              </a:solidFill>
              <a:latin typeface="Malgun Gothic" panose="020B0503020000020004" pitchFamily="34" charset="-127"/>
              <a:ea typeface="Malgun Gothic" panose="020B0503020000020004" pitchFamily="34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42547600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832529D1-6B02-4759-B7A9-30499270864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47738" y="-981446"/>
            <a:ext cx="10296524" cy="3773980"/>
          </a:xfrm>
        </p:spPr>
        <p:txBody>
          <a:bodyPr/>
          <a:lstStyle/>
          <a:p>
            <a:endParaRPr lang="en-US" sz="2000" dirty="0">
              <a:latin typeface="Malgun Gothic" panose="020B0503020000020004" pitchFamily="34" charset="-127"/>
              <a:ea typeface="Malgun Gothic" panose="020B0503020000020004" pitchFamily="34" charset="-127"/>
            </a:endParaRPr>
          </a:p>
          <a:p>
            <a:endParaRPr lang="en-US" sz="2000" dirty="0">
              <a:latin typeface="Malgun Gothic" panose="020B0503020000020004" pitchFamily="34" charset="-127"/>
              <a:ea typeface="Malgun Gothic" panose="020B0503020000020004" pitchFamily="34" charset="-127"/>
            </a:endParaRPr>
          </a:p>
          <a:p>
            <a:endParaRPr lang="en-US" sz="2000" dirty="0">
              <a:latin typeface="Malgun Gothic" panose="020B0503020000020004" pitchFamily="34" charset="-127"/>
              <a:ea typeface="Malgun Gothic" panose="020B0503020000020004" pitchFamily="34" charset="-127"/>
            </a:endParaRPr>
          </a:p>
          <a:p>
            <a:endParaRPr lang="en-US" sz="2000" dirty="0">
              <a:latin typeface="Malgun Gothic" panose="020B0503020000020004" pitchFamily="34" charset="-127"/>
              <a:ea typeface="Malgun Gothic" panose="020B0503020000020004" pitchFamily="34" charset="-127"/>
            </a:endParaRPr>
          </a:p>
          <a:p>
            <a:endParaRPr lang="en-US" sz="2000" dirty="0">
              <a:latin typeface="Malgun Gothic" panose="020B0503020000020004" pitchFamily="34" charset="-127"/>
              <a:ea typeface="Malgun Gothic" panose="020B0503020000020004" pitchFamily="34" charset="-127"/>
            </a:endParaRPr>
          </a:p>
          <a:p>
            <a:endParaRPr lang="en-US" sz="2000" dirty="0">
              <a:latin typeface="Malgun Gothic" panose="020B0503020000020004" pitchFamily="34" charset="-127"/>
              <a:ea typeface="Malgun Gothic" panose="020B0503020000020004" pitchFamily="34" charset="-127"/>
            </a:endParaRPr>
          </a:p>
          <a:p>
            <a:r>
              <a:rPr lang="en-US" sz="2000" b="1" dirty="0">
                <a:latin typeface="Malgun Gothic" panose="020B0503020000020004" pitchFamily="34" charset="-127"/>
                <a:ea typeface="Malgun Gothic" panose="020B0503020000020004" pitchFamily="34" charset="-127"/>
                <a:cs typeface="Malgun Gothic Semilight" panose="020B0502040204020203" pitchFamily="34" charset="-128"/>
              </a:rPr>
              <a:t>Ageing populations</a:t>
            </a:r>
            <a:r>
              <a:rPr lang="en-US" sz="2000" dirty="0">
                <a:latin typeface="Malgun Gothic" panose="020B0503020000020004" pitchFamily="34" charset="-127"/>
                <a:ea typeface="Malgun Gothic" panose="020B0503020000020004" pitchFamily="34" charset="-127"/>
                <a:cs typeface="Malgun Gothic Semilight" panose="020B0502040204020203" pitchFamily="34" charset="-128"/>
              </a:rPr>
              <a:t>: growing elderly population increases people at higher risk during extreme temperature events (flu epidemics, heatwaves)                                   </a:t>
            </a:r>
            <a:r>
              <a:rPr lang="en-US" sz="1400" i="1" dirty="0">
                <a:latin typeface="Malgun Gothic" panose="020B0503020000020004" pitchFamily="34" charset="-127"/>
                <a:ea typeface="Malgun Gothic" panose="020B0503020000020004" pitchFamily="34" charset="-127"/>
                <a:cs typeface="Malgun Gothic Semilight" panose="020B0502040204020203" pitchFamily="34" charset="-128"/>
              </a:rPr>
              <a:t>(</a:t>
            </a:r>
            <a:r>
              <a:rPr lang="en-US" sz="1400" i="1" dirty="0" err="1">
                <a:latin typeface="Malgun Gothic" panose="020B0503020000020004" pitchFamily="34" charset="-127"/>
                <a:ea typeface="Malgun Gothic" panose="020B0503020000020004" pitchFamily="34" charset="-127"/>
                <a:cs typeface="Malgun Gothic Semilight" panose="020B0502040204020203" pitchFamily="34" charset="-128"/>
              </a:rPr>
              <a:t>Ballester</a:t>
            </a:r>
            <a:r>
              <a:rPr lang="en-US" sz="1400" i="1" dirty="0">
                <a:latin typeface="Malgun Gothic" panose="020B0503020000020004" pitchFamily="34" charset="-127"/>
                <a:ea typeface="Malgun Gothic" panose="020B0503020000020004" pitchFamily="34" charset="-127"/>
                <a:cs typeface="Malgun Gothic Semilight" panose="020B0502040204020203" pitchFamily="34" charset="-128"/>
              </a:rPr>
              <a:t> et al. 2011, </a:t>
            </a:r>
            <a:r>
              <a:rPr lang="en-US" sz="1400" i="1" dirty="0" err="1">
                <a:latin typeface="Malgun Gothic" panose="020B0503020000020004" pitchFamily="34" charset="-127"/>
                <a:ea typeface="Malgun Gothic" panose="020B0503020000020004" pitchFamily="34" charset="-127"/>
                <a:cs typeface="Malgun Gothic Semilight" panose="020B0502040204020203" pitchFamily="34" charset="-128"/>
              </a:rPr>
              <a:t>Ledberg</a:t>
            </a:r>
            <a:r>
              <a:rPr lang="en-US" sz="1400" i="1" dirty="0">
                <a:latin typeface="Malgun Gothic" panose="020B0503020000020004" pitchFamily="34" charset="-127"/>
                <a:ea typeface="Malgun Gothic" panose="020B0503020000020004" pitchFamily="34" charset="-127"/>
                <a:cs typeface="Malgun Gothic Semilight" panose="020B0502040204020203" pitchFamily="34" charset="-128"/>
              </a:rPr>
              <a:t> 2020)</a:t>
            </a:r>
          </a:p>
          <a:p>
            <a:endParaRPr lang="en-US" i="1" dirty="0">
              <a:latin typeface="Malgun Gothic" panose="020B0503020000020004" pitchFamily="34" charset="-127"/>
              <a:ea typeface="Malgun Gothic" panose="020B0503020000020004" pitchFamily="34" charset="-127"/>
              <a:cs typeface="Malgun Gothic Semilight" panose="020B0502040204020203" pitchFamily="34" charset="-128"/>
            </a:endParaRPr>
          </a:p>
          <a:p>
            <a:endParaRPr lang="en-US" sz="2000" dirty="0">
              <a:latin typeface="Malgun Gothic" panose="020B0503020000020004" pitchFamily="34" charset="-127"/>
              <a:ea typeface="Malgun Gothic" panose="020B0503020000020004" pitchFamily="34" charset="-127"/>
            </a:endParaRPr>
          </a:p>
          <a:p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FEAE593-5680-4093-97C7-9F4CD75303A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en-US" dirty="0"/>
              <a:t>Max Planck Institute for demographic research                                                                                                                                                                               SEASONAL MORTALITY IN EUROPE | 26/09/2024</a:t>
            </a:r>
            <a:endParaRPr lang="de-DE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92918931-178F-4BF2-859B-64EFBCE554D7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754790" y="619853"/>
            <a:ext cx="10296525" cy="571383"/>
          </a:xfrm>
          <a:prstGeom prst="rect">
            <a:avLst/>
          </a:prstGeom>
          <a:noFill/>
          <a:ln>
            <a:noFill/>
          </a:ln>
        </p:spPr>
        <p:txBody>
          <a:bodyPr vert="horz" wrap="square" lIns="198000" tIns="158400" rIns="108000" bIns="108000" rtlCol="0" anchor="t" anchorCtr="0">
            <a:noAutofit/>
          </a:bodyPr>
          <a:lstStyle>
            <a:lvl1pPr algn="l" defTabSz="914400" rtl="0" eaLnBrk="1" latinLnBrk="0" hangingPunct="1">
              <a:lnSpc>
                <a:spcPts val="2600"/>
              </a:lnSpc>
              <a:spcBef>
                <a:spcPct val="0"/>
              </a:spcBef>
              <a:spcAft>
                <a:spcPts val="1800"/>
              </a:spcAft>
              <a:buNone/>
              <a:defRPr sz="2000" b="1" kern="600" cap="all" spc="200" baseline="0">
                <a:solidFill>
                  <a:srgbClr val="006C66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400" dirty="0">
                <a:latin typeface="Malgun Gothic" panose="020B0503020000020004" pitchFamily="34" charset="-127"/>
                <a:ea typeface="Malgun Gothic" panose="020B0503020000020004" pitchFamily="34" charset="-127"/>
              </a:rPr>
              <a:t>Seasonality, ageing and climate chang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568C5B7-6247-4D6C-B5C9-B1FC122059E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22311" y="3007151"/>
            <a:ext cx="7169084" cy="2484232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7672C1B5-8C8D-484E-BA4E-A697F4B49805}"/>
              </a:ext>
            </a:extLst>
          </p:cNvPr>
          <p:cNvSpPr txBox="1"/>
          <p:nvPr/>
        </p:nvSpPr>
        <p:spPr>
          <a:xfrm>
            <a:off x="5382559" y="5706000"/>
            <a:ext cx="5648587" cy="276999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 anchor="t" anchorCtr="0">
            <a:spAutoFit/>
          </a:bodyPr>
          <a:lstStyle/>
          <a:p>
            <a:pPr algn="ctr"/>
            <a:r>
              <a:rPr lang="en-US" sz="900" dirty="0">
                <a:solidFill>
                  <a:schemeClr val="bg1">
                    <a:lumMod val="65000"/>
                  </a:schemeClr>
                </a:solidFill>
                <a:latin typeface=".SF NS Symbols Regular"/>
              </a:rPr>
              <a:t>Martínez-</a:t>
            </a:r>
            <a:r>
              <a:rPr lang="en-US" sz="900" dirty="0" err="1">
                <a:solidFill>
                  <a:schemeClr val="bg1">
                    <a:lumMod val="65000"/>
                  </a:schemeClr>
                </a:solidFill>
                <a:latin typeface=".SF NS Symbols Regular"/>
              </a:rPr>
              <a:t>Solanas</a:t>
            </a:r>
            <a:r>
              <a:rPr lang="en-US" sz="900" dirty="0">
                <a:solidFill>
                  <a:schemeClr val="bg1">
                    <a:lumMod val="65000"/>
                  </a:schemeClr>
                </a:solidFill>
                <a:latin typeface=".SF NS Symbols Regular"/>
              </a:rPr>
              <a:t> et al. (2021) </a:t>
            </a:r>
            <a:r>
              <a:rPr lang="en-US" sz="900" i="1" dirty="0">
                <a:solidFill>
                  <a:schemeClr val="bg1">
                    <a:lumMod val="65000"/>
                  </a:schemeClr>
                </a:solidFill>
                <a:latin typeface=".SF NS Symbols Regular"/>
              </a:rPr>
              <a:t>Projections of temperature-attributable mortality in Europe: a time series analysis of 147 contiguous regions in 16 countries</a:t>
            </a:r>
            <a:endParaRPr lang="en-US" sz="800" i="1" dirty="0">
              <a:solidFill>
                <a:schemeClr val="bg1">
                  <a:lumMod val="65000"/>
                </a:schemeClr>
              </a:solidFill>
              <a:latin typeface="Bahnschrift" panose="020B0502040204020203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30AA7F9-AD91-47C5-8A32-EB7941312661}"/>
              </a:ext>
            </a:extLst>
          </p:cNvPr>
          <p:cNvSpPr txBox="1"/>
          <p:nvPr/>
        </p:nvSpPr>
        <p:spPr>
          <a:xfrm>
            <a:off x="947738" y="3244614"/>
            <a:ext cx="2860691" cy="2554545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marL="0" lvl="2" indent="-342900">
              <a:spcBef>
                <a:spcPts val="1200"/>
              </a:spcBef>
            </a:pPr>
            <a:r>
              <a:rPr lang="en-US" sz="2000" dirty="0">
                <a:latin typeface="Malgun Gothic" panose="020B0503020000020004" pitchFamily="34" charset="-127"/>
                <a:ea typeface="Malgun Gothic" panose="020B0503020000020004" pitchFamily="34" charset="-127"/>
                <a:cs typeface="Malgun Gothic Semilight" panose="020B0502040204020203" pitchFamily="34" charset="-128"/>
              </a:rPr>
              <a:t>Not only </a:t>
            </a:r>
            <a:r>
              <a:rPr lang="en-US" sz="2000" b="1" dirty="0">
                <a:latin typeface="Malgun Gothic" panose="020B0503020000020004" pitchFamily="34" charset="-127"/>
                <a:ea typeface="Malgun Gothic" panose="020B0503020000020004" pitchFamily="34" charset="-127"/>
                <a:cs typeface="Malgun Gothic Semilight" panose="020B0502040204020203" pitchFamily="34" charset="-128"/>
              </a:rPr>
              <a:t>meteorological factors:</a:t>
            </a:r>
            <a:r>
              <a:rPr lang="en-US" sz="2000" dirty="0">
                <a:latin typeface="Malgun Gothic" panose="020B0503020000020004" pitchFamily="34" charset="-127"/>
                <a:ea typeface="Malgun Gothic" panose="020B0503020000020004" pitchFamily="34" charset="-127"/>
                <a:cs typeface="Malgun Gothic Semilight" panose="020B0502040204020203" pitchFamily="34" charset="-128"/>
              </a:rPr>
              <a:t> inequalities in socio-economic status, educational attainment, urbanization </a:t>
            </a:r>
            <a:r>
              <a:rPr lang="en-US" sz="2400" dirty="0">
                <a:latin typeface="Malgun Gothic" panose="020B0503020000020004" pitchFamily="34" charset="-127"/>
                <a:ea typeface="Malgun Gothic" panose="020B0503020000020004" pitchFamily="34" charset="-127"/>
                <a:cs typeface="Malgun Gothic Semilight" panose="020B0502040204020203" pitchFamily="34" charset="-128"/>
              </a:rPr>
              <a:t>       </a:t>
            </a:r>
            <a:r>
              <a:rPr lang="en-US" sz="1400" i="1" dirty="0">
                <a:latin typeface="Malgun Gothic" panose="020B0503020000020004" pitchFamily="34" charset="-127"/>
                <a:ea typeface="Malgun Gothic" panose="020B0503020000020004" pitchFamily="34" charset="-127"/>
                <a:cs typeface="Malgun Gothic Semilight" panose="020B0502040204020203" pitchFamily="34" charset="-128"/>
              </a:rPr>
              <a:t>(Burkart 2011)</a:t>
            </a:r>
            <a:endParaRPr lang="en-US" sz="1600" i="1" dirty="0">
              <a:latin typeface="Malgun Gothic" panose="020B0503020000020004" pitchFamily="34" charset="-127"/>
              <a:ea typeface="Malgun Gothic" panose="020B0503020000020004" pitchFamily="34" charset="-127"/>
              <a:cs typeface="Malgun Gothic Semilight" panose="020B0502040204020203" pitchFamily="34" charset="-128"/>
            </a:endParaRPr>
          </a:p>
          <a:p>
            <a:pPr marL="0" lvl="2" indent="-342900">
              <a:spcBef>
                <a:spcPts val="1200"/>
              </a:spcBef>
            </a:pPr>
            <a:endParaRPr lang="en-GB" sz="1600" dirty="0" err="1"/>
          </a:p>
        </p:txBody>
      </p:sp>
    </p:spTree>
    <p:extLst>
      <p:ext uri="{BB962C8B-B14F-4D97-AF65-F5344CB8AC3E}">
        <p14:creationId xmlns:p14="http://schemas.microsoft.com/office/powerpoint/2010/main" val="12589872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C476251-F727-4E3B-8526-C771A1C56A7F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en-US"/>
              <a:t>Isabella Marinetti, Seasonal mortality impact on Italian regions life expectancy - 11.09.2023</a:t>
            </a:r>
            <a:endParaRPr lang="de-DE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D07AF24-AC84-4907-AE0C-421EC1481167}"/>
              </a:ext>
            </a:extLst>
          </p:cNvPr>
          <p:cNvSpPr txBox="1"/>
          <p:nvPr/>
        </p:nvSpPr>
        <p:spPr>
          <a:xfrm>
            <a:off x="678576" y="2658782"/>
            <a:ext cx="10218723" cy="2693045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 anchor="t" anchorCtr="0">
            <a:spAutoFit/>
          </a:bodyPr>
          <a:lstStyle/>
          <a:p>
            <a:pPr marL="434250">
              <a:lnSpc>
                <a:spcPts val="2300"/>
              </a:lnSpc>
            </a:pPr>
            <a:endParaRPr lang="en-US" sz="2000" dirty="0">
              <a:latin typeface=".SF NS Symbols Regular"/>
            </a:endParaRPr>
          </a:p>
          <a:p>
            <a:pPr marL="720000" indent="-285750">
              <a:lnSpc>
                <a:spcPts val="2300"/>
              </a:lnSpc>
              <a:buFont typeface="Arial" panose="020B0604020202020204" pitchFamily="34" charset="0"/>
              <a:buChar char="•"/>
            </a:pPr>
            <a:r>
              <a:rPr lang="en-US" sz="2000" dirty="0">
                <a:latin typeface="Malgun Gothic" panose="020B0503020000020004" pitchFamily="34" charset="-127"/>
                <a:ea typeface="Malgun Gothic" panose="020B0503020000020004" pitchFamily="34" charset="-127"/>
              </a:rPr>
              <a:t>Majority of studies on life expectancy trends focus on </a:t>
            </a:r>
            <a:r>
              <a:rPr lang="en-US" sz="2000" b="1" dirty="0">
                <a:latin typeface="Malgun Gothic" panose="020B0503020000020004" pitchFamily="34" charset="-127"/>
                <a:ea typeface="Malgun Gothic" panose="020B0503020000020004" pitchFamily="34" charset="-127"/>
              </a:rPr>
              <a:t>annual </a:t>
            </a:r>
            <a:r>
              <a:rPr lang="en-US" sz="2000" dirty="0">
                <a:latin typeface="Malgun Gothic" panose="020B0503020000020004" pitchFamily="34" charset="-127"/>
                <a:ea typeface="Malgun Gothic" panose="020B0503020000020004" pitchFamily="34" charset="-127"/>
              </a:rPr>
              <a:t>estimates</a:t>
            </a:r>
            <a:endParaRPr lang="en-GB" sz="2000" dirty="0">
              <a:latin typeface="Malgun Gothic" panose="020B0503020000020004" pitchFamily="34" charset="-127"/>
              <a:ea typeface="Malgun Gothic" panose="020B0503020000020004" pitchFamily="34" charset="-127"/>
            </a:endParaRPr>
          </a:p>
          <a:p>
            <a:pPr marL="720000" indent="-285750">
              <a:lnSpc>
                <a:spcPts val="2300"/>
              </a:lnSpc>
              <a:spcBef>
                <a:spcPts val="2400"/>
              </a:spcBef>
              <a:buFont typeface="Arial" panose="020B0604020202020204" pitchFamily="34" charset="0"/>
              <a:buChar char="•"/>
            </a:pPr>
            <a:r>
              <a:rPr lang="en-US" sz="2000" dirty="0">
                <a:latin typeface="Malgun Gothic" panose="020B0503020000020004" pitchFamily="34" charset="-127"/>
                <a:ea typeface="Malgun Gothic" panose="020B0503020000020004" pitchFamily="34" charset="-127"/>
              </a:rPr>
              <a:t>Most of the literature emphasizes </a:t>
            </a:r>
            <a:r>
              <a:rPr lang="en-US" sz="2000" b="1" dirty="0">
                <a:latin typeface="Malgun Gothic" panose="020B0503020000020004" pitchFamily="34" charset="-127"/>
                <a:ea typeface="Malgun Gothic" panose="020B0503020000020004" pitchFamily="34" charset="-127"/>
              </a:rPr>
              <a:t>temperature-attributable mortality</a:t>
            </a:r>
            <a:r>
              <a:rPr lang="en-US" sz="2000" dirty="0">
                <a:latin typeface="Malgun Gothic" panose="020B0503020000020004" pitchFamily="34" charset="-127"/>
                <a:ea typeface="Malgun Gothic" panose="020B0503020000020004" pitchFamily="34" charset="-127"/>
              </a:rPr>
              <a:t> as a seasonal factor</a:t>
            </a:r>
            <a:endParaRPr lang="en-US" sz="1600" dirty="0">
              <a:latin typeface="Malgun Gothic" panose="020B0503020000020004" pitchFamily="34" charset="-127"/>
              <a:ea typeface="Malgun Gothic" panose="020B0503020000020004" pitchFamily="34" charset="-127"/>
            </a:endParaRPr>
          </a:p>
          <a:p>
            <a:pPr marL="720000" indent="-285750">
              <a:lnSpc>
                <a:spcPts val="2300"/>
              </a:lnSpc>
              <a:spcBef>
                <a:spcPts val="2400"/>
              </a:spcBef>
              <a:buFont typeface="Arial" panose="020B0604020202020204" pitchFamily="34" charset="0"/>
              <a:buChar char="•"/>
            </a:pPr>
            <a:r>
              <a:rPr lang="en-US" sz="2000" dirty="0">
                <a:latin typeface="Malgun Gothic" panose="020B0503020000020004" pitchFamily="34" charset="-127"/>
                <a:ea typeface="Malgun Gothic" panose="020B0503020000020004" pitchFamily="34" charset="-127"/>
              </a:rPr>
              <a:t>Studies on specific flu epidemics season</a:t>
            </a:r>
          </a:p>
          <a:p>
            <a:pPr marL="720000" indent="-285750">
              <a:lnSpc>
                <a:spcPts val="2300"/>
              </a:lnSpc>
              <a:spcBef>
                <a:spcPts val="2400"/>
              </a:spcBef>
              <a:buFont typeface="Arial" panose="020B0604020202020204" pitchFamily="34" charset="0"/>
              <a:buChar char="•"/>
            </a:pPr>
            <a:endParaRPr lang="en-US" sz="2000" dirty="0">
              <a:latin typeface="Malgun Gothic" panose="020B0503020000020004" pitchFamily="34" charset="-127"/>
              <a:ea typeface="Malgun Gothic" panose="020B0503020000020004" pitchFamily="34" charset="-127"/>
            </a:endParaRPr>
          </a:p>
        </p:txBody>
      </p:sp>
      <p:sp>
        <p:nvSpPr>
          <p:cNvPr id="7" name="Title 2">
            <a:extLst>
              <a:ext uri="{FF2B5EF4-FFF2-40B4-BE49-F238E27FC236}">
                <a16:creationId xmlns:a16="http://schemas.microsoft.com/office/drawing/2014/main" id="{E66047E1-20F3-411B-83DA-FDDCE1B59E2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12800" y="1016001"/>
            <a:ext cx="3088081" cy="1059705"/>
          </a:xfrm>
        </p:spPr>
        <p:txBody>
          <a:bodyPr anchor="ctr"/>
          <a:lstStyle/>
          <a:p>
            <a:r>
              <a:rPr lang="en-US" sz="2400" dirty="0">
                <a:latin typeface="Malgun Gothic" panose="020B0503020000020004" pitchFamily="34" charset="-127"/>
                <a:ea typeface="Malgun Gothic" panose="020B0503020000020004" pitchFamily="34" charset="-127"/>
              </a:rPr>
              <a:t>Gap in the literatur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D97D0F77-F75D-417F-B621-FCF961AAC6A8}"/>
              </a:ext>
            </a:extLst>
          </p:cNvPr>
          <p:cNvSpPr/>
          <p:nvPr/>
        </p:nvSpPr>
        <p:spPr>
          <a:xfrm>
            <a:off x="8925886" y="369116"/>
            <a:ext cx="2737853" cy="1322147"/>
          </a:xfrm>
          <a:prstGeom prst="rect">
            <a:avLst/>
          </a:prstGeom>
          <a:solidFill>
            <a:schemeClr val="bg1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dirty="0">
              <a:solidFill>
                <a:schemeClr val="bg1"/>
              </a:solidFill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D5EF4803-19B6-45D3-B759-38EDC6DD7ED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32113" y="319320"/>
            <a:ext cx="1224300" cy="6471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194520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490EE45-C134-4609-8615-545CD200CFD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en-US"/>
              <a:t>Max Planck Institute for demographic research                                                                                                                                                                               SEASONAL MORTALITY IN EUROPE | 26/09/2024</a:t>
            </a:r>
            <a:endParaRPr lang="de-DE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EA12B04-7B0F-440E-812D-CA36CF138BCC}"/>
              </a:ext>
            </a:extLst>
          </p:cNvPr>
          <p:cNvSpPr txBox="1"/>
          <p:nvPr/>
        </p:nvSpPr>
        <p:spPr>
          <a:xfrm>
            <a:off x="5592614" y="2789285"/>
            <a:ext cx="4611599" cy="1305322"/>
          </a:xfrm>
          <a:prstGeom prst="roundRect">
            <a:avLst/>
          </a:prstGeom>
          <a:solidFill>
            <a:schemeClr val="accent4">
              <a:lumMod val="40000"/>
              <a:lumOff val="60000"/>
            </a:schemeClr>
          </a:solidFill>
          <a:ln>
            <a:solidFill>
              <a:schemeClr val="accent1"/>
            </a:solidFill>
          </a:ln>
        </p:spPr>
        <p:txBody>
          <a:bodyPr wrap="square" lIns="0" tIns="0" rIns="0" bIns="0" rtlCol="0" anchor="t" anchorCtr="0">
            <a:spAutoFit/>
          </a:bodyPr>
          <a:lstStyle/>
          <a:p>
            <a:pPr marL="108000" algn="ctr">
              <a:lnSpc>
                <a:spcPts val="2300"/>
              </a:lnSpc>
              <a:spcBef>
                <a:spcPts val="1150"/>
              </a:spcBef>
              <a:spcAft>
                <a:spcPts val="1200"/>
              </a:spcAft>
            </a:pPr>
            <a:r>
              <a:rPr lang="en-US" sz="2000" dirty="0">
                <a:latin typeface="Malgun Gothic" panose="020B0503020000020004" pitchFamily="34" charset="-127"/>
                <a:ea typeface="Malgun Gothic" panose="020B0503020000020004" pitchFamily="34" charset="-127"/>
                <a:cs typeface="Malgun Gothic Semilight" panose="020B0502040204020203" pitchFamily="34" charset="-128"/>
              </a:rPr>
              <a:t>What are the implications of recent trends? How can we quantify the impact of seasonal excess mortality on life expectancy?</a:t>
            </a:r>
          </a:p>
        </p:txBody>
      </p:sp>
      <p:sp>
        <p:nvSpPr>
          <p:cNvPr id="6" name="Arrow: Right 5">
            <a:extLst>
              <a:ext uri="{FF2B5EF4-FFF2-40B4-BE49-F238E27FC236}">
                <a16:creationId xmlns:a16="http://schemas.microsoft.com/office/drawing/2014/main" id="{0BDD3E84-81A8-46A9-B1D6-7353011FA3C0}"/>
              </a:ext>
            </a:extLst>
          </p:cNvPr>
          <p:cNvSpPr/>
          <p:nvPr/>
        </p:nvSpPr>
        <p:spPr>
          <a:xfrm>
            <a:off x="4228917" y="3181911"/>
            <a:ext cx="692061" cy="494178"/>
          </a:xfrm>
          <a:prstGeom prst="rightArrow">
            <a:avLst/>
          </a:prstGeom>
          <a:solidFill>
            <a:schemeClr val="accent4">
              <a:lumMod val="75000"/>
            </a:schemeClr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GB" sz="1300" b="1" dirty="0">
              <a:solidFill>
                <a:schemeClr val="bg1"/>
              </a:solidFill>
            </a:endParaRPr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3F4164E9-BA1E-444A-9972-9D16E3ABB332}"/>
              </a:ext>
            </a:extLst>
          </p:cNvPr>
          <p:cNvSpPr/>
          <p:nvPr/>
        </p:nvSpPr>
        <p:spPr>
          <a:xfrm>
            <a:off x="947739" y="1099621"/>
            <a:ext cx="2370496" cy="1360775"/>
          </a:xfrm>
          <a:custGeom>
            <a:avLst/>
            <a:gdLst>
              <a:gd name="connsiteX0" fmla="*/ 0 w 1779984"/>
              <a:gd name="connsiteY0" fmla="*/ 192835 h 1156989"/>
              <a:gd name="connsiteX1" fmla="*/ 192835 w 1779984"/>
              <a:gd name="connsiteY1" fmla="*/ 0 h 1156989"/>
              <a:gd name="connsiteX2" fmla="*/ 1587149 w 1779984"/>
              <a:gd name="connsiteY2" fmla="*/ 0 h 1156989"/>
              <a:gd name="connsiteX3" fmla="*/ 1779984 w 1779984"/>
              <a:gd name="connsiteY3" fmla="*/ 192835 h 1156989"/>
              <a:gd name="connsiteX4" fmla="*/ 1779984 w 1779984"/>
              <a:gd name="connsiteY4" fmla="*/ 964154 h 1156989"/>
              <a:gd name="connsiteX5" fmla="*/ 1587149 w 1779984"/>
              <a:gd name="connsiteY5" fmla="*/ 1156989 h 1156989"/>
              <a:gd name="connsiteX6" fmla="*/ 192835 w 1779984"/>
              <a:gd name="connsiteY6" fmla="*/ 1156989 h 1156989"/>
              <a:gd name="connsiteX7" fmla="*/ 0 w 1779984"/>
              <a:gd name="connsiteY7" fmla="*/ 964154 h 1156989"/>
              <a:gd name="connsiteX8" fmla="*/ 0 w 1779984"/>
              <a:gd name="connsiteY8" fmla="*/ 192835 h 11569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779984" h="1156989">
                <a:moveTo>
                  <a:pt x="0" y="192835"/>
                </a:moveTo>
                <a:cubicBezTo>
                  <a:pt x="0" y="86335"/>
                  <a:pt x="86335" y="0"/>
                  <a:pt x="192835" y="0"/>
                </a:cubicBezTo>
                <a:lnTo>
                  <a:pt x="1587149" y="0"/>
                </a:lnTo>
                <a:cubicBezTo>
                  <a:pt x="1693649" y="0"/>
                  <a:pt x="1779984" y="86335"/>
                  <a:pt x="1779984" y="192835"/>
                </a:cubicBezTo>
                <a:lnTo>
                  <a:pt x="1779984" y="964154"/>
                </a:lnTo>
                <a:cubicBezTo>
                  <a:pt x="1779984" y="1070654"/>
                  <a:pt x="1693649" y="1156989"/>
                  <a:pt x="1587149" y="1156989"/>
                </a:cubicBezTo>
                <a:lnTo>
                  <a:pt x="192835" y="1156989"/>
                </a:lnTo>
                <a:cubicBezTo>
                  <a:pt x="86335" y="1156989"/>
                  <a:pt x="0" y="1070654"/>
                  <a:pt x="0" y="964154"/>
                </a:cubicBezTo>
                <a:lnTo>
                  <a:pt x="0" y="192835"/>
                </a:lnTo>
                <a:close/>
              </a:path>
            </a:pathLst>
          </a:custGeom>
          <a:solidFill>
            <a:srgbClr val="005869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220310" tIns="220310" rIns="220310" bIns="220310" numCol="1" spcCol="1270" anchor="ctr" anchorCtr="0">
            <a:noAutofit/>
          </a:bodyPr>
          <a:lstStyle/>
          <a:p>
            <a:pPr marL="0" lvl="0" indent="0" algn="ctr" defTabSz="19113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2400" b="1" kern="1200" dirty="0">
                <a:solidFill>
                  <a:schemeClr val="bg1"/>
                </a:solidFill>
                <a:latin typeface="Malgun Gothic" panose="020B0503020000020004" pitchFamily="34" charset="-127"/>
                <a:ea typeface="Malgun Gothic" panose="020B0503020000020004" pitchFamily="34" charset="-127"/>
              </a:rPr>
              <a:t>Seasonality in mortality</a:t>
            </a:r>
            <a:endParaRPr lang="en-GB" sz="2400" b="1" kern="1200" dirty="0">
              <a:solidFill>
                <a:schemeClr val="bg1"/>
              </a:solidFill>
              <a:latin typeface="Malgun Gothic" panose="020B0503020000020004" pitchFamily="34" charset="-127"/>
              <a:ea typeface="Malgun Gothic" panose="020B0503020000020004" pitchFamily="34" charset="-127"/>
            </a:endParaRPr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D467832E-C25F-4F69-A643-D6375149B42C}"/>
              </a:ext>
            </a:extLst>
          </p:cNvPr>
          <p:cNvSpPr/>
          <p:nvPr/>
        </p:nvSpPr>
        <p:spPr>
          <a:xfrm>
            <a:off x="947739" y="2895428"/>
            <a:ext cx="2370496" cy="1360775"/>
          </a:xfrm>
          <a:custGeom>
            <a:avLst/>
            <a:gdLst>
              <a:gd name="connsiteX0" fmla="*/ 0 w 1779984"/>
              <a:gd name="connsiteY0" fmla="*/ 192835 h 1156989"/>
              <a:gd name="connsiteX1" fmla="*/ 192835 w 1779984"/>
              <a:gd name="connsiteY1" fmla="*/ 0 h 1156989"/>
              <a:gd name="connsiteX2" fmla="*/ 1587149 w 1779984"/>
              <a:gd name="connsiteY2" fmla="*/ 0 h 1156989"/>
              <a:gd name="connsiteX3" fmla="*/ 1779984 w 1779984"/>
              <a:gd name="connsiteY3" fmla="*/ 192835 h 1156989"/>
              <a:gd name="connsiteX4" fmla="*/ 1779984 w 1779984"/>
              <a:gd name="connsiteY4" fmla="*/ 964154 h 1156989"/>
              <a:gd name="connsiteX5" fmla="*/ 1587149 w 1779984"/>
              <a:gd name="connsiteY5" fmla="*/ 1156989 h 1156989"/>
              <a:gd name="connsiteX6" fmla="*/ 192835 w 1779984"/>
              <a:gd name="connsiteY6" fmla="*/ 1156989 h 1156989"/>
              <a:gd name="connsiteX7" fmla="*/ 0 w 1779984"/>
              <a:gd name="connsiteY7" fmla="*/ 964154 h 1156989"/>
              <a:gd name="connsiteX8" fmla="*/ 0 w 1779984"/>
              <a:gd name="connsiteY8" fmla="*/ 192835 h 11569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779984" h="1156989">
                <a:moveTo>
                  <a:pt x="0" y="192835"/>
                </a:moveTo>
                <a:cubicBezTo>
                  <a:pt x="0" y="86335"/>
                  <a:pt x="86335" y="0"/>
                  <a:pt x="192835" y="0"/>
                </a:cubicBezTo>
                <a:lnTo>
                  <a:pt x="1587149" y="0"/>
                </a:lnTo>
                <a:cubicBezTo>
                  <a:pt x="1693649" y="0"/>
                  <a:pt x="1779984" y="86335"/>
                  <a:pt x="1779984" y="192835"/>
                </a:cubicBezTo>
                <a:lnTo>
                  <a:pt x="1779984" y="964154"/>
                </a:lnTo>
                <a:cubicBezTo>
                  <a:pt x="1779984" y="1070654"/>
                  <a:pt x="1693649" y="1156989"/>
                  <a:pt x="1587149" y="1156989"/>
                </a:cubicBezTo>
                <a:lnTo>
                  <a:pt x="192835" y="1156989"/>
                </a:lnTo>
                <a:cubicBezTo>
                  <a:pt x="86335" y="1156989"/>
                  <a:pt x="0" y="1070654"/>
                  <a:pt x="0" y="964154"/>
                </a:cubicBezTo>
                <a:lnTo>
                  <a:pt x="0" y="192835"/>
                </a:lnTo>
                <a:close/>
              </a:path>
            </a:pathLst>
          </a:custGeom>
          <a:solidFill>
            <a:srgbClr val="009DA0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220310" tIns="220310" rIns="220310" bIns="220310" numCol="1" spcCol="1270" anchor="ctr" anchorCtr="0">
            <a:noAutofit/>
          </a:bodyPr>
          <a:lstStyle/>
          <a:p>
            <a:pPr lvl="0" algn="ctr" defTabSz="19113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2400" b="1" dirty="0">
                <a:latin typeface="Malgun Gothic" panose="020B0503020000020004" pitchFamily="34" charset="-127"/>
                <a:ea typeface="Malgun Gothic" panose="020B0503020000020004" pitchFamily="34" charset="-127"/>
              </a:rPr>
              <a:t>Ageing populations</a:t>
            </a:r>
            <a:endParaRPr lang="en-GB" sz="2400" b="1" dirty="0">
              <a:latin typeface="Malgun Gothic" panose="020B0503020000020004" pitchFamily="34" charset="-127"/>
              <a:ea typeface="Malgun Gothic" panose="020B0503020000020004" pitchFamily="34" charset="-127"/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7A336B10-8CCA-4AE5-BF94-C6AFCFEED4CE}"/>
              </a:ext>
            </a:extLst>
          </p:cNvPr>
          <p:cNvSpPr/>
          <p:nvPr/>
        </p:nvSpPr>
        <p:spPr>
          <a:xfrm>
            <a:off x="947739" y="4657381"/>
            <a:ext cx="2370496" cy="1360775"/>
          </a:xfrm>
          <a:custGeom>
            <a:avLst/>
            <a:gdLst>
              <a:gd name="connsiteX0" fmla="*/ 0 w 1779984"/>
              <a:gd name="connsiteY0" fmla="*/ 192835 h 1156989"/>
              <a:gd name="connsiteX1" fmla="*/ 192835 w 1779984"/>
              <a:gd name="connsiteY1" fmla="*/ 0 h 1156989"/>
              <a:gd name="connsiteX2" fmla="*/ 1587149 w 1779984"/>
              <a:gd name="connsiteY2" fmla="*/ 0 h 1156989"/>
              <a:gd name="connsiteX3" fmla="*/ 1779984 w 1779984"/>
              <a:gd name="connsiteY3" fmla="*/ 192835 h 1156989"/>
              <a:gd name="connsiteX4" fmla="*/ 1779984 w 1779984"/>
              <a:gd name="connsiteY4" fmla="*/ 964154 h 1156989"/>
              <a:gd name="connsiteX5" fmla="*/ 1587149 w 1779984"/>
              <a:gd name="connsiteY5" fmla="*/ 1156989 h 1156989"/>
              <a:gd name="connsiteX6" fmla="*/ 192835 w 1779984"/>
              <a:gd name="connsiteY6" fmla="*/ 1156989 h 1156989"/>
              <a:gd name="connsiteX7" fmla="*/ 0 w 1779984"/>
              <a:gd name="connsiteY7" fmla="*/ 964154 h 1156989"/>
              <a:gd name="connsiteX8" fmla="*/ 0 w 1779984"/>
              <a:gd name="connsiteY8" fmla="*/ 192835 h 11569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779984" h="1156989">
                <a:moveTo>
                  <a:pt x="0" y="192835"/>
                </a:moveTo>
                <a:cubicBezTo>
                  <a:pt x="0" y="86335"/>
                  <a:pt x="86335" y="0"/>
                  <a:pt x="192835" y="0"/>
                </a:cubicBezTo>
                <a:lnTo>
                  <a:pt x="1587149" y="0"/>
                </a:lnTo>
                <a:cubicBezTo>
                  <a:pt x="1693649" y="0"/>
                  <a:pt x="1779984" y="86335"/>
                  <a:pt x="1779984" y="192835"/>
                </a:cubicBezTo>
                <a:lnTo>
                  <a:pt x="1779984" y="964154"/>
                </a:lnTo>
                <a:cubicBezTo>
                  <a:pt x="1779984" y="1070654"/>
                  <a:pt x="1693649" y="1156989"/>
                  <a:pt x="1587149" y="1156989"/>
                </a:cubicBezTo>
                <a:lnTo>
                  <a:pt x="192835" y="1156989"/>
                </a:lnTo>
                <a:cubicBezTo>
                  <a:pt x="86335" y="1156989"/>
                  <a:pt x="0" y="1070654"/>
                  <a:pt x="0" y="964154"/>
                </a:cubicBezTo>
                <a:lnTo>
                  <a:pt x="0" y="192835"/>
                </a:lnTo>
                <a:close/>
              </a:path>
            </a:pathLst>
          </a:custGeom>
          <a:solidFill>
            <a:srgbClr val="009DA0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220310" tIns="220310" rIns="220310" bIns="220310" numCol="1" spcCol="1270" anchor="ctr" anchorCtr="0">
            <a:noAutofit/>
          </a:bodyPr>
          <a:lstStyle/>
          <a:p>
            <a:pPr lvl="0" algn="ctr" defTabSz="19113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2400" b="1" dirty="0">
                <a:latin typeface="Malgun Gothic" panose="020B0503020000020004" pitchFamily="34" charset="-127"/>
                <a:ea typeface="Malgun Gothic" panose="020B0503020000020004" pitchFamily="34" charset="-127"/>
              </a:rPr>
              <a:t>Climate change</a:t>
            </a:r>
            <a:endParaRPr lang="en-GB" sz="2400" b="1" dirty="0">
              <a:latin typeface="Malgun Gothic" panose="020B0503020000020004" pitchFamily="34" charset="-127"/>
              <a:ea typeface="Malgun Gothic" panose="020B0503020000020004" pitchFamily="34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12972252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6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C0CE81E-DEF6-40B3-80D8-57EE042695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53471" y="807580"/>
            <a:ext cx="10296524" cy="1283824"/>
          </a:xfrm>
        </p:spPr>
        <p:txBody>
          <a:bodyPr/>
          <a:lstStyle/>
          <a:p>
            <a:r>
              <a:rPr lang="en-US" dirty="0">
                <a:latin typeface="Malgun Gothic" panose="020B0503020000020004" pitchFamily="34" charset="-127"/>
                <a:ea typeface="Malgun Gothic" panose="020B0503020000020004" pitchFamily="34" charset="-127"/>
                <a:cs typeface="Times New Roman" panose="02020603050405020304" pitchFamily="18" charset="0"/>
              </a:rPr>
              <a:t>AIM of the study</a:t>
            </a:r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EDBB4E5-8F97-4A1D-B21C-EB4629D41B0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en-US"/>
              <a:t>Max Planck Institute for demographic research                                                                                                                                                                               SEASONAL MORTALITY IN EUROPE | 26/09/2024</a:t>
            </a:r>
            <a:endParaRPr lang="de-DE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79C5AB9A-626C-4CC9-A2D5-E19FBCF8AF11}"/>
              </a:ext>
            </a:extLst>
          </p:cNvPr>
          <p:cNvSpPr/>
          <p:nvPr/>
        </p:nvSpPr>
        <p:spPr>
          <a:xfrm>
            <a:off x="774582" y="1365321"/>
            <a:ext cx="10760280" cy="105387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07000"/>
              </a:lnSpc>
              <a:spcAft>
                <a:spcPts val="800"/>
              </a:spcAft>
            </a:pPr>
            <a:r>
              <a:rPr lang="en-US" sz="2000" dirty="0">
                <a:latin typeface="Malgun Gothic" panose="020B0503020000020004" pitchFamily="34" charset="-127"/>
                <a:ea typeface="Malgun Gothic" panose="020B0503020000020004" pitchFamily="34" charset="-127"/>
                <a:cs typeface="Times New Roman" panose="02020603050405020304" pitchFamily="18" charset="0"/>
              </a:rPr>
              <a:t>Assess the impact of seasonal fluctuations on all-cause mortality in 20 European countries between 2000 and 2019, understanding the </a:t>
            </a:r>
            <a:r>
              <a:rPr lang="en-US" sz="2000" dirty="0">
                <a:solidFill>
                  <a:schemeClr val="tx2"/>
                </a:solidFill>
                <a:latin typeface="Malgun Gothic" panose="020B0503020000020004" pitchFamily="34" charset="-127"/>
                <a:ea typeface="Malgun Gothic" panose="020B0503020000020004" pitchFamily="34" charset="-127"/>
                <a:cs typeface="Times New Roman" panose="02020603050405020304" pitchFamily="18" charset="0"/>
              </a:rPr>
              <a:t>impact of seasonality on</a:t>
            </a:r>
            <a:r>
              <a:rPr lang="en-US" sz="2000" dirty="0">
                <a:latin typeface="Malgun Gothic" panose="020B0503020000020004" pitchFamily="34" charset="-127"/>
                <a:ea typeface="Malgun Gothic" panose="020B0503020000020004" pitchFamily="34" charset="-127"/>
                <a:cs typeface="Times New Roman" panose="02020603050405020304" pitchFamily="18" charset="0"/>
              </a:rPr>
              <a:t> </a:t>
            </a:r>
            <a:r>
              <a:rPr lang="en-US" sz="2000" dirty="0">
                <a:solidFill>
                  <a:schemeClr val="tx2"/>
                </a:solidFill>
                <a:latin typeface="Malgun Gothic" panose="020B0503020000020004" pitchFamily="34" charset="-127"/>
                <a:ea typeface="Malgun Gothic" panose="020B0503020000020004" pitchFamily="34" charset="-127"/>
                <a:cs typeface="Times New Roman" panose="02020603050405020304" pitchFamily="18" charset="0"/>
              </a:rPr>
              <a:t>annual life expectancy</a:t>
            </a:r>
            <a:endParaRPr lang="en-GB" dirty="0">
              <a:solidFill>
                <a:schemeClr val="tx2"/>
              </a:solidFill>
              <a:effectLst/>
              <a:latin typeface="Malgun Gothic" panose="020B0503020000020004" pitchFamily="34" charset="-127"/>
              <a:ea typeface="Malgun Gothic" panose="020B0503020000020004" pitchFamily="34" charset="-127"/>
              <a:cs typeface="Times New Roman" panose="02020603050405020304" pitchFamily="18" charset="0"/>
            </a:endParaRPr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81003C35-FD44-4C11-92FE-601C3C8F06E9}"/>
              </a:ext>
            </a:extLst>
          </p:cNvPr>
          <p:cNvSpPr/>
          <p:nvPr/>
        </p:nvSpPr>
        <p:spPr>
          <a:xfrm>
            <a:off x="4664253" y="2857020"/>
            <a:ext cx="1770958" cy="678051"/>
          </a:xfrm>
          <a:custGeom>
            <a:avLst/>
            <a:gdLst>
              <a:gd name="connsiteX0" fmla="*/ 0 w 3027543"/>
              <a:gd name="connsiteY0" fmla="*/ 75689 h 756885"/>
              <a:gd name="connsiteX1" fmla="*/ 75689 w 3027543"/>
              <a:gd name="connsiteY1" fmla="*/ 0 h 756885"/>
              <a:gd name="connsiteX2" fmla="*/ 2951855 w 3027543"/>
              <a:gd name="connsiteY2" fmla="*/ 0 h 756885"/>
              <a:gd name="connsiteX3" fmla="*/ 3027544 w 3027543"/>
              <a:gd name="connsiteY3" fmla="*/ 75689 h 756885"/>
              <a:gd name="connsiteX4" fmla="*/ 3027543 w 3027543"/>
              <a:gd name="connsiteY4" fmla="*/ 681197 h 756885"/>
              <a:gd name="connsiteX5" fmla="*/ 2951854 w 3027543"/>
              <a:gd name="connsiteY5" fmla="*/ 756886 h 756885"/>
              <a:gd name="connsiteX6" fmla="*/ 75689 w 3027543"/>
              <a:gd name="connsiteY6" fmla="*/ 756885 h 756885"/>
              <a:gd name="connsiteX7" fmla="*/ 0 w 3027543"/>
              <a:gd name="connsiteY7" fmla="*/ 681196 h 756885"/>
              <a:gd name="connsiteX8" fmla="*/ 0 w 3027543"/>
              <a:gd name="connsiteY8" fmla="*/ 75689 h 7568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027543" h="756885">
                <a:moveTo>
                  <a:pt x="0" y="75689"/>
                </a:moveTo>
                <a:cubicBezTo>
                  <a:pt x="0" y="33887"/>
                  <a:pt x="33887" y="0"/>
                  <a:pt x="75689" y="0"/>
                </a:cubicBezTo>
                <a:lnTo>
                  <a:pt x="2951855" y="0"/>
                </a:lnTo>
                <a:cubicBezTo>
                  <a:pt x="2993657" y="0"/>
                  <a:pt x="3027544" y="33887"/>
                  <a:pt x="3027544" y="75689"/>
                </a:cubicBezTo>
                <a:cubicBezTo>
                  <a:pt x="3027544" y="277525"/>
                  <a:pt x="3027543" y="479361"/>
                  <a:pt x="3027543" y="681197"/>
                </a:cubicBezTo>
                <a:cubicBezTo>
                  <a:pt x="3027543" y="722999"/>
                  <a:pt x="2993656" y="756886"/>
                  <a:pt x="2951854" y="756886"/>
                </a:cubicBezTo>
                <a:lnTo>
                  <a:pt x="75689" y="756885"/>
                </a:lnTo>
                <a:cubicBezTo>
                  <a:pt x="33887" y="756885"/>
                  <a:pt x="0" y="722998"/>
                  <a:pt x="0" y="681196"/>
                </a:cubicBezTo>
                <a:lnTo>
                  <a:pt x="0" y="75689"/>
                </a:lnTo>
                <a:close/>
              </a:path>
            </a:pathLst>
          </a:custGeom>
          <a:solidFill>
            <a:schemeClr val="accent4">
              <a:lumMod val="75000"/>
              <a:alpha val="90000"/>
            </a:schemeClr>
          </a:solidFill>
          <a:ln>
            <a:noFill/>
          </a:ln>
        </p:spPr>
        <p:style>
          <a:lnRef idx="2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79318" tIns="79318" rIns="79318" bIns="79318" numCol="1" spcCol="1270" anchor="ctr" anchorCtr="0">
            <a:noAutofit/>
          </a:bodyPr>
          <a:lstStyle/>
          <a:p>
            <a:pPr lvl="0" algn="ctr" defTabSz="20002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2000" kern="1200" dirty="0">
                <a:latin typeface="Malgun Gothic" panose="020B0503020000020004" pitchFamily="34" charset="-127"/>
                <a:ea typeface="Malgun Gothic" panose="020B0503020000020004" pitchFamily="34" charset="-127"/>
              </a:rPr>
              <a:t>Annual and seasonal </a:t>
            </a:r>
            <a:r>
              <a:rPr lang="en-US" sz="2000" dirty="0"/>
              <a:t>e</a:t>
            </a:r>
            <a:r>
              <a:rPr lang="en-US" sz="2000" baseline="-25000" dirty="0"/>
              <a:t>0</a:t>
            </a:r>
            <a:endParaRPr lang="en-GB" sz="2000" kern="1200" dirty="0">
              <a:latin typeface="Malgun Gothic" panose="020B0503020000020004" pitchFamily="34" charset="-127"/>
              <a:ea typeface="Malgun Gothic" panose="020B0503020000020004" pitchFamily="34" charset="-127"/>
            </a:endParaRPr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1E85CB14-A0F3-4F79-AA4F-4B07C2310986}"/>
              </a:ext>
            </a:extLst>
          </p:cNvPr>
          <p:cNvSpPr/>
          <p:nvPr/>
        </p:nvSpPr>
        <p:spPr>
          <a:xfrm>
            <a:off x="1321334" y="3357319"/>
            <a:ext cx="2502471" cy="756885"/>
          </a:xfrm>
          <a:custGeom>
            <a:avLst/>
            <a:gdLst>
              <a:gd name="connsiteX0" fmla="*/ 0 w 3027543"/>
              <a:gd name="connsiteY0" fmla="*/ 75689 h 756885"/>
              <a:gd name="connsiteX1" fmla="*/ 75689 w 3027543"/>
              <a:gd name="connsiteY1" fmla="*/ 0 h 756885"/>
              <a:gd name="connsiteX2" fmla="*/ 2951855 w 3027543"/>
              <a:gd name="connsiteY2" fmla="*/ 0 h 756885"/>
              <a:gd name="connsiteX3" fmla="*/ 3027544 w 3027543"/>
              <a:gd name="connsiteY3" fmla="*/ 75689 h 756885"/>
              <a:gd name="connsiteX4" fmla="*/ 3027543 w 3027543"/>
              <a:gd name="connsiteY4" fmla="*/ 681197 h 756885"/>
              <a:gd name="connsiteX5" fmla="*/ 2951854 w 3027543"/>
              <a:gd name="connsiteY5" fmla="*/ 756886 h 756885"/>
              <a:gd name="connsiteX6" fmla="*/ 75689 w 3027543"/>
              <a:gd name="connsiteY6" fmla="*/ 756885 h 756885"/>
              <a:gd name="connsiteX7" fmla="*/ 0 w 3027543"/>
              <a:gd name="connsiteY7" fmla="*/ 681196 h 756885"/>
              <a:gd name="connsiteX8" fmla="*/ 0 w 3027543"/>
              <a:gd name="connsiteY8" fmla="*/ 75689 h 7568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027543" h="756885">
                <a:moveTo>
                  <a:pt x="0" y="75689"/>
                </a:moveTo>
                <a:cubicBezTo>
                  <a:pt x="0" y="33887"/>
                  <a:pt x="33887" y="0"/>
                  <a:pt x="75689" y="0"/>
                </a:cubicBezTo>
                <a:lnTo>
                  <a:pt x="2951855" y="0"/>
                </a:lnTo>
                <a:cubicBezTo>
                  <a:pt x="2993657" y="0"/>
                  <a:pt x="3027544" y="33887"/>
                  <a:pt x="3027544" y="75689"/>
                </a:cubicBezTo>
                <a:cubicBezTo>
                  <a:pt x="3027544" y="277525"/>
                  <a:pt x="3027543" y="479361"/>
                  <a:pt x="3027543" y="681197"/>
                </a:cubicBezTo>
                <a:cubicBezTo>
                  <a:pt x="3027543" y="722999"/>
                  <a:pt x="2993656" y="756886"/>
                  <a:pt x="2951854" y="756886"/>
                </a:cubicBezTo>
                <a:lnTo>
                  <a:pt x="75689" y="756885"/>
                </a:lnTo>
                <a:cubicBezTo>
                  <a:pt x="33887" y="756885"/>
                  <a:pt x="0" y="722998"/>
                  <a:pt x="0" y="681196"/>
                </a:cubicBezTo>
                <a:lnTo>
                  <a:pt x="0" y="75689"/>
                </a:ln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47568" tIns="47568" rIns="47568" bIns="47568" numCol="1" spcCol="1270" anchor="ctr" anchorCtr="0">
            <a:noAutofit/>
          </a:bodyPr>
          <a:lstStyle/>
          <a:p>
            <a:pPr marL="0" lvl="0" indent="0" algn="ctr" defTabSz="8890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2000" kern="1200" dirty="0">
                <a:latin typeface="Malgun Gothic" panose="020B0503020000020004" pitchFamily="34" charset="-127"/>
                <a:ea typeface="Malgun Gothic" panose="020B0503020000020004" pitchFamily="34" charset="-127"/>
              </a:rPr>
              <a:t>Weekly mortality data from the HMD</a:t>
            </a:r>
            <a:endParaRPr lang="en-GB" sz="2000" kern="1200" dirty="0">
              <a:latin typeface="Malgun Gothic" panose="020B0503020000020004" pitchFamily="34" charset="-127"/>
              <a:ea typeface="Malgun Gothic" panose="020B0503020000020004" pitchFamily="34" charset="-127"/>
            </a:endParaRPr>
          </a:p>
        </p:txBody>
      </p:sp>
      <p:sp>
        <p:nvSpPr>
          <p:cNvPr id="30" name="Freeform: Shape 29">
            <a:extLst>
              <a:ext uri="{FF2B5EF4-FFF2-40B4-BE49-F238E27FC236}">
                <a16:creationId xmlns:a16="http://schemas.microsoft.com/office/drawing/2014/main" id="{051833E2-780E-4A88-BA81-B900D6AE3596}"/>
              </a:ext>
            </a:extLst>
          </p:cNvPr>
          <p:cNvSpPr/>
          <p:nvPr/>
        </p:nvSpPr>
        <p:spPr>
          <a:xfrm>
            <a:off x="4659516" y="4000980"/>
            <a:ext cx="1770958" cy="563967"/>
          </a:xfrm>
          <a:custGeom>
            <a:avLst/>
            <a:gdLst>
              <a:gd name="connsiteX0" fmla="*/ 0 w 3027543"/>
              <a:gd name="connsiteY0" fmla="*/ 75689 h 756885"/>
              <a:gd name="connsiteX1" fmla="*/ 75689 w 3027543"/>
              <a:gd name="connsiteY1" fmla="*/ 0 h 756885"/>
              <a:gd name="connsiteX2" fmla="*/ 2951855 w 3027543"/>
              <a:gd name="connsiteY2" fmla="*/ 0 h 756885"/>
              <a:gd name="connsiteX3" fmla="*/ 3027544 w 3027543"/>
              <a:gd name="connsiteY3" fmla="*/ 75689 h 756885"/>
              <a:gd name="connsiteX4" fmla="*/ 3027543 w 3027543"/>
              <a:gd name="connsiteY4" fmla="*/ 681197 h 756885"/>
              <a:gd name="connsiteX5" fmla="*/ 2951854 w 3027543"/>
              <a:gd name="connsiteY5" fmla="*/ 756886 h 756885"/>
              <a:gd name="connsiteX6" fmla="*/ 75689 w 3027543"/>
              <a:gd name="connsiteY6" fmla="*/ 756885 h 756885"/>
              <a:gd name="connsiteX7" fmla="*/ 0 w 3027543"/>
              <a:gd name="connsiteY7" fmla="*/ 681196 h 756885"/>
              <a:gd name="connsiteX8" fmla="*/ 0 w 3027543"/>
              <a:gd name="connsiteY8" fmla="*/ 75689 h 7568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027543" h="756885">
                <a:moveTo>
                  <a:pt x="0" y="75689"/>
                </a:moveTo>
                <a:cubicBezTo>
                  <a:pt x="0" y="33887"/>
                  <a:pt x="33887" y="0"/>
                  <a:pt x="75689" y="0"/>
                </a:cubicBezTo>
                <a:lnTo>
                  <a:pt x="2951855" y="0"/>
                </a:lnTo>
                <a:cubicBezTo>
                  <a:pt x="2993657" y="0"/>
                  <a:pt x="3027544" y="33887"/>
                  <a:pt x="3027544" y="75689"/>
                </a:cubicBezTo>
                <a:cubicBezTo>
                  <a:pt x="3027544" y="277525"/>
                  <a:pt x="3027543" y="479361"/>
                  <a:pt x="3027543" y="681197"/>
                </a:cubicBezTo>
                <a:cubicBezTo>
                  <a:pt x="3027543" y="722999"/>
                  <a:pt x="2993656" y="756886"/>
                  <a:pt x="2951854" y="756886"/>
                </a:cubicBezTo>
                <a:lnTo>
                  <a:pt x="75689" y="756885"/>
                </a:lnTo>
                <a:cubicBezTo>
                  <a:pt x="33887" y="756885"/>
                  <a:pt x="0" y="722998"/>
                  <a:pt x="0" y="681196"/>
                </a:cubicBezTo>
                <a:lnTo>
                  <a:pt x="0" y="75689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79318" tIns="79318" rIns="79318" bIns="79318" numCol="1" spcCol="1270" anchor="ctr" anchorCtr="0">
            <a:noAutofit/>
          </a:bodyPr>
          <a:lstStyle/>
          <a:p>
            <a:pPr lvl="0" algn="ctr" defTabSz="20002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2000" kern="1200" dirty="0">
                <a:solidFill>
                  <a:schemeClr val="bg1">
                    <a:lumMod val="85000"/>
                  </a:schemeClr>
                </a:solidFill>
                <a:latin typeface="Malgun Gothic" panose="020B0503020000020004" pitchFamily="34" charset="-127"/>
                <a:ea typeface="Malgun Gothic" panose="020B0503020000020004" pitchFamily="34" charset="-127"/>
              </a:rPr>
              <a:t>Upper* </a:t>
            </a:r>
            <a:r>
              <a:rPr lang="en-US" sz="2000" dirty="0">
                <a:solidFill>
                  <a:schemeClr val="bg1">
                    <a:lumMod val="85000"/>
                  </a:schemeClr>
                </a:solidFill>
              </a:rPr>
              <a:t>e</a:t>
            </a:r>
            <a:r>
              <a:rPr lang="en-US" sz="2000" baseline="-25000" dirty="0">
                <a:solidFill>
                  <a:schemeClr val="bg1">
                    <a:lumMod val="85000"/>
                  </a:schemeClr>
                </a:solidFill>
              </a:rPr>
              <a:t>0</a:t>
            </a:r>
            <a:r>
              <a:rPr lang="en-US" sz="2000" kern="1200" dirty="0">
                <a:solidFill>
                  <a:schemeClr val="bg1">
                    <a:lumMod val="85000"/>
                  </a:schemeClr>
                </a:solidFill>
                <a:latin typeface="Malgun Gothic" panose="020B0503020000020004" pitchFamily="34" charset="-127"/>
                <a:ea typeface="Malgun Gothic" panose="020B0503020000020004" pitchFamily="34" charset="-127"/>
              </a:rPr>
              <a:t> </a:t>
            </a:r>
            <a:endParaRPr lang="en-GB" sz="2000" kern="1200" dirty="0">
              <a:solidFill>
                <a:schemeClr val="bg1">
                  <a:lumMod val="85000"/>
                </a:schemeClr>
              </a:solidFill>
              <a:latin typeface="Malgun Gothic" panose="020B0503020000020004" pitchFamily="34" charset="-127"/>
              <a:ea typeface="Malgun Gothic" panose="020B0503020000020004" pitchFamily="34" charset="-127"/>
            </a:endParaRPr>
          </a:p>
        </p:txBody>
      </p:sp>
      <p:sp>
        <p:nvSpPr>
          <p:cNvPr id="4" name="Left Brace 3">
            <a:extLst>
              <a:ext uri="{FF2B5EF4-FFF2-40B4-BE49-F238E27FC236}">
                <a16:creationId xmlns:a16="http://schemas.microsoft.com/office/drawing/2014/main" id="{A820209C-87D5-4972-9E33-84E478642AF8}"/>
              </a:ext>
            </a:extLst>
          </p:cNvPr>
          <p:cNvSpPr/>
          <p:nvPr/>
        </p:nvSpPr>
        <p:spPr>
          <a:xfrm rot="10800000">
            <a:off x="4125163" y="3125758"/>
            <a:ext cx="228259" cy="1220006"/>
          </a:xfrm>
          <a:prstGeom prst="leftBrace">
            <a:avLst>
              <a:gd name="adj1" fmla="val 63047"/>
              <a:gd name="adj2" fmla="val 49890"/>
            </a:avLst>
          </a:prstGeom>
          <a:ln w="19050" cmpd="sng">
            <a:prstDash val="solid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sz="2000"/>
          </a:p>
        </p:txBody>
      </p:sp>
      <p:sp>
        <p:nvSpPr>
          <p:cNvPr id="18" name="Left Brace 17">
            <a:extLst>
              <a:ext uri="{FF2B5EF4-FFF2-40B4-BE49-F238E27FC236}">
                <a16:creationId xmlns:a16="http://schemas.microsoft.com/office/drawing/2014/main" id="{76FCE8DB-8C57-4788-8BCE-8E7D76E0E52A}"/>
              </a:ext>
            </a:extLst>
          </p:cNvPr>
          <p:cNvSpPr/>
          <p:nvPr/>
        </p:nvSpPr>
        <p:spPr>
          <a:xfrm rot="10800000">
            <a:off x="6996675" y="3155659"/>
            <a:ext cx="228259" cy="1220006"/>
          </a:xfrm>
          <a:prstGeom prst="leftBrace">
            <a:avLst>
              <a:gd name="adj1" fmla="val 63047"/>
              <a:gd name="adj2" fmla="val 49890"/>
            </a:avLst>
          </a:prstGeom>
          <a:noFill/>
          <a:ln w="19050" cmpd="sng">
            <a:solidFill>
              <a:schemeClr val="bg1">
                <a:lumMod val="95000"/>
              </a:schemeClr>
            </a:solidFill>
            <a:prstDash val="solid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sz="200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39AFB9C-6B86-482D-87BC-24D15301E65A}"/>
              </a:ext>
            </a:extLst>
          </p:cNvPr>
          <p:cNvSpPr txBox="1"/>
          <p:nvPr/>
        </p:nvSpPr>
        <p:spPr>
          <a:xfrm>
            <a:off x="2016221" y="5593771"/>
            <a:ext cx="8277001" cy="557012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>
              <a:lnSpc>
                <a:spcPts val="2300"/>
              </a:lnSpc>
              <a:spcBef>
                <a:spcPts val="1150"/>
              </a:spcBef>
            </a:pPr>
            <a:r>
              <a:rPr lang="en-US" sz="1400" i="1" dirty="0">
                <a:latin typeface="Malgun Gothic" panose="020B0503020000020004" pitchFamily="34" charset="-127"/>
                <a:ea typeface="Malgun Gothic" panose="020B0503020000020004" pitchFamily="34" charset="-127"/>
              </a:rPr>
              <a:t>Countries:</a:t>
            </a:r>
            <a:r>
              <a:rPr lang="ru-RU" sz="1400" i="1" dirty="0">
                <a:ea typeface="Malgun Gothic" panose="020B0503020000020004" pitchFamily="34" charset="-127"/>
              </a:rPr>
              <a:t> </a:t>
            </a:r>
            <a:r>
              <a:rPr lang="en-US" sz="1400" i="1" dirty="0">
                <a:latin typeface="Malgun Gothic" panose="020B0503020000020004" pitchFamily="34" charset="-127"/>
                <a:ea typeface="Malgun Gothic" panose="020B0503020000020004" pitchFamily="34" charset="-127"/>
              </a:rPr>
              <a:t>Austria, Belgium, Bulgaria, Croatia (from 2001), Estonia, Finland, France, Germany, Hungary, Lithuania, Latvia, Netherlands, Norway, Poland, Portugal, Russia, Slovakia, Spain, Sweden, Switzerland </a:t>
            </a:r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EE6D47CF-FBCD-4213-959B-EF5F58C40912}"/>
              </a:ext>
            </a:extLst>
          </p:cNvPr>
          <p:cNvSpPr/>
          <p:nvPr/>
        </p:nvSpPr>
        <p:spPr>
          <a:xfrm>
            <a:off x="7786397" y="2649145"/>
            <a:ext cx="3205207" cy="1021073"/>
          </a:xfrm>
          <a:custGeom>
            <a:avLst/>
            <a:gdLst>
              <a:gd name="connsiteX0" fmla="*/ 0 w 3027543"/>
              <a:gd name="connsiteY0" fmla="*/ 75689 h 756885"/>
              <a:gd name="connsiteX1" fmla="*/ 75689 w 3027543"/>
              <a:gd name="connsiteY1" fmla="*/ 0 h 756885"/>
              <a:gd name="connsiteX2" fmla="*/ 2951855 w 3027543"/>
              <a:gd name="connsiteY2" fmla="*/ 0 h 756885"/>
              <a:gd name="connsiteX3" fmla="*/ 3027544 w 3027543"/>
              <a:gd name="connsiteY3" fmla="*/ 75689 h 756885"/>
              <a:gd name="connsiteX4" fmla="*/ 3027543 w 3027543"/>
              <a:gd name="connsiteY4" fmla="*/ 681197 h 756885"/>
              <a:gd name="connsiteX5" fmla="*/ 2951854 w 3027543"/>
              <a:gd name="connsiteY5" fmla="*/ 756886 h 756885"/>
              <a:gd name="connsiteX6" fmla="*/ 75689 w 3027543"/>
              <a:gd name="connsiteY6" fmla="*/ 756885 h 756885"/>
              <a:gd name="connsiteX7" fmla="*/ 0 w 3027543"/>
              <a:gd name="connsiteY7" fmla="*/ 681196 h 756885"/>
              <a:gd name="connsiteX8" fmla="*/ 0 w 3027543"/>
              <a:gd name="connsiteY8" fmla="*/ 75689 h 7568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027543" h="756885">
                <a:moveTo>
                  <a:pt x="0" y="75689"/>
                </a:moveTo>
                <a:cubicBezTo>
                  <a:pt x="0" y="33887"/>
                  <a:pt x="33887" y="0"/>
                  <a:pt x="75689" y="0"/>
                </a:cubicBezTo>
                <a:lnTo>
                  <a:pt x="2951855" y="0"/>
                </a:lnTo>
                <a:cubicBezTo>
                  <a:pt x="2993657" y="0"/>
                  <a:pt x="3027544" y="33887"/>
                  <a:pt x="3027544" y="75689"/>
                </a:cubicBezTo>
                <a:cubicBezTo>
                  <a:pt x="3027544" y="277525"/>
                  <a:pt x="3027543" y="479361"/>
                  <a:pt x="3027543" y="681197"/>
                </a:cubicBezTo>
                <a:cubicBezTo>
                  <a:pt x="3027543" y="722999"/>
                  <a:pt x="2993656" y="756886"/>
                  <a:pt x="2951854" y="756886"/>
                </a:cubicBezTo>
                <a:lnTo>
                  <a:pt x="75689" y="756885"/>
                </a:lnTo>
                <a:cubicBezTo>
                  <a:pt x="33887" y="756885"/>
                  <a:pt x="0" y="722998"/>
                  <a:pt x="0" y="681196"/>
                </a:cubicBezTo>
                <a:lnTo>
                  <a:pt x="0" y="75689"/>
                </a:lnTo>
                <a:close/>
              </a:path>
            </a:pathLst>
          </a:custGeom>
          <a:solidFill>
            <a:schemeClr val="bg1">
              <a:lumMod val="95000"/>
              <a:alpha val="90000"/>
            </a:schemeClr>
          </a:solidFill>
          <a:ln>
            <a:solidFill>
              <a:schemeClr val="bg1">
                <a:lumMod val="95000"/>
                <a:alpha val="90000"/>
              </a:schemeClr>
            </a:solidFill>
          </a:ln>
        </p:spPr>
        <p:style>
          <a:lnRef idx="2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79318" tIns="79318" rIns="79318" bIns="79318" numCol="1" spcCol="1270" anchor="ctr" anchorCtr="0">
            <a:noAutofit/>
          </a:bodyPr>
          <a:lstStyle/>
          <a:p>
            <a:pPr lvl="0" algn="ctr" defTabSz="20002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2000" dirty="0">
                <a:solidFill>
                  <a:schemeClr val="bg1">
                    <a:lumMod val="85000"/>
                  </a:schemeClr>
                </a:solidFill>
                <a:latin typeface="Malgun Gothic" panose="020B0503020000020004" pitchFamily="34" charset="-127"/>
                <a:ea typeface="Malgun Gothic" panose="020B0503020000020004" pitchFamily="34" charset="-127"/>
              </a:rPr>
              <a:t>Decomposition of life expectancy losses by season</a:t>
            </a:r>
            <a:endParaRPr lang="en-GB" sz="2000" dirty="0">
              <a:solidFill>
                <a:schemeClr val="bg1">
                  <a:lumMod val="85000"/>
                </a:schemeClr>
              </a:solidFill>
              <a:latin typeface="Malgun Gothic" panose="020B0503020000020004" pitchFamily="34" charset="-127"/>
              <a:ea typeface="Malgun Gothic" panose="020B0503020000020004" pitchFamily="34" charset="-127"/>
            </a:endParaRPr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ED6A26D0-F0D2-4BC1-9697-2A6374C41E55}"/>
              </a:ext>
            </a:extLst>
          </p:cNvPr>
          <p:cNvSpPr/>
          <p:nvPr/>
        </p:nvSpPr>
        <p:spPr>
          <a:xfrm>
            <a:off x="7786397" y="3921787"/>
            <a:ext cx="3205207" cy="678844"/>
          </a:xfrm>
          <a:custGeom>
            <a:avLst/>
            <a:gdLst>
              <a:gd name="connsiteX0" fmla="*/ 0 w 3027543"/>
              <a:gd name="connsiteY0" fmla="*/ 75689 h 756885"/>
              <a:gd name="connsiteX1" fmla="*/ 75689 w 3027543"/>
              <a:gd name="connsiteY1" fmla="*/ 0 h 756885"/>
              <a:gd name="connsiteX2" fmla="*/ 2951855 w 3027543"/>
              <a:gd name="connsiteY2" fmla="*/ 0 h 756885"/>
              <a:gd name="connsiteX3" fmla="*/ 3027544 w 3027543"/>
              <a:gd name="connsiteY3" fmla="*/ 75689 h 756885"/>
              <a:gd name="connsiteX4" fmla="*/ 3027543 w 3027543"/>
              <a:gd name="connsiteY4" fmla="*/ 681197 h 756885"/>
              <a:gd name="connsiteX5" fmla="*/ 2951854 w 3027543"/>
              <a:gd name="connsiteY5" fmla="*/ 756886 h 756885"/>
              <a:gd name="connsiteX6" fmla="*/ 75689 w 3027543"/>
              <a:gd name="connsiteY6" fmla="*/ 756885 h 756885"/>
              <a:gd name="connsiteX7" fmla="*/ 0 w 3027543"/>
              <a:gd name="connsiteY7" fmla="*/ 681196 h 756885"/>
              <a:gd name="connsiteX8" fmla="*/ 0 w 3027543"/>
              <a:gd name="connsiteY8" fmla="*/ 75689 h 7568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027543" h="756885">
                <a:moveTo>
                  <a:pt x="0" y="75689"/>
                </a:moveTo>
                <a:cubicBezTo>
                  <a:pt x="0" y="33887"/>
                  <a:pt x="33887" y="0"/>
                  <a:pt x="75689" y="0"/>
                </a:cubicBezTo>
                <a:lnTo>
                  <a:pt x="2951855" y="0"/>
                </a:lnTo>
                <a:cubicBezTo>
                  <a:pt x="2993657" y="0"/>
                  <a:pt x="3027544" y="33887"/>
                  <a:pt x="3027544" y="75689"/>
                </a:cubicBezTo>
                <a:cubicBezTo>
                  <a:pt x="3027544" y="277525"/>
                  <a:pt x="3027543" y="479361"/>
                  <a:pt x="3027543" y="681197"/>
                </a:cubicBezTo>
                <a:cubicBezTo>
                  <a:pt x="3027543" y="722999"/>
                  <a:pt x="2993656" y="756886"/>
                  <a:pt x="2951854" y="756886"/>
                </a:cubicBezTo>
                <a:lnTo>
                  <a:pt x="75689" y="756885"/>
                </a:lnTo>
                <a:cubicBezTo>
                  <a:pt x="33887" y="756885"/>
                  <a:pt x="0" y="722998"/>
                  <a:pt x="0" y="681196"/>
                </a:cubicBezTo>
                <a:lnTo>
                  <a:pt x="0" y="75689"/>
                </a:lnTo>
                <a:close/>
              </a:path>
            </a:pathLst>
          </a:custGeom>
          <a:solidFill>
            <a:srgbClr val="F3F3F3"/>
          </a:solidFill>
          <a:ln>
            <a:noFill/>
          </a:ln>
        </p:spPr>
        <p:style>
          <a:lnRef idx="2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79318" tIns="79318" rIns="79318" bIns="79318" numCol="1" spcCol="1270" anchor="ctr" anchorCtr="0">
            <a:noAutofit/>
          </a:bodyPr>
          <a:lstStyle/>
          <a:p>
            <a:pPr lvl="0" algn="ctr" defTabSz="20002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2000" dirty="0">
                <a:solidFill>
                  <a:schemeClr val="bg1">
                    <a:lumMod val="85000"/>
                  </a:schemeClr>
                </a:solidFill>
                <a:latin typeface="Malgun Gothic" panose="020B0503020000020004" pitchFamily="34" charset="-127"/>
                <a:ea typeface="Malgun Gothic" panose="020B0503020000020004" pitchFamily="34" charset="-127"/>
              </a:rPr>
              <a:t>Analysis of </a:t>
            </a:r>
            <a:r>
              <a:rPr lang="en-US" sz="2000" u="sng" dirty="0">
                <a:solidFill>
                  <a:schemeClr val="bg1">
                    <a:lumMod val="85000"/>
                  </a:schemeClr>
                </a:solidFill>
                <a:latin typeface="Malgun Gothic" panose="020B0503020000020004" pitchFamily="34" charset="-127"/>
                <a:ea typeface="Malgun Gothic" panose="020B0503020000020004" pitchFamily="34" charset="-127"/>
              </a:rPr>
              <a:t>observed</a:t>
            </a:r>
            <a:r>
              <a:rPr lang="en-US" sz="2000" dirty="0">
                <a:solidFill>
                  <a:schemeClr val="bg1">
                    <a:lumMod val="85000"/>
                  </a:schemeClr>
                </a:solidFill>
                <a:latin typeface="Malgun Gothic" panose="020B0503020000020004" pitchFamily="34" charset="-127"/>
                <a:ea typeface="Malgun Gothic" panose="020B0503020000020004" pitchFamily="34" charset="-127"/>
              </a:rPr>
              <a:t> and </a:t>
            </a:r>
            <a:r>
              <a:rPr lang="en-US" sz="2000" u="dashHeavy" dirty="0">
                <a:solidFill>
                  <a:schemeClr val="bg1">
                    <a:lumMod val="85000"/>
                  </a:schemeClr>
                </a:solidFill>
                <a:latin typeface="Malgun Gothic" panose="020B0503020000020004" pitchFamily="34" charset="-127"/>
                <a:ea typeface="Malgun Gothic" panose="020B0503020000020004" pitchFamily="34" charset="-127"/>
              </a:rPr>
              <a:t>upper</a:t>
            </a:r>
            <a:r>
              <a:rPr lang="en-US" sz="2000" dirty="0">
                <a:solidFill>
                  <a:schemeClr val="bg1">
                    <a:lumMod val="85000"/>
                  </a:schemeClr>
                </a:solidFill>
                <a:latin typeface="Malgun Gothic" panose="020B0503020000020004" pitchFamily="34" charset="-127"/>
                <a:ea typeface="Malgun Gothic" panose="020B0503020000020004" pitchFamily="34" charset="-127"/>
              </a:rPr>
              <a:t> e</a:t>
            </a:r>
            <a:r>
              <a:rPr lang="en-US" sz="2000" baseline="-25000" dirty="0">
                <a:solidFill>
                  <a:schemeClr val="bg1">
                    <a:lumMod val="85000"/>
                  </a:schemeClr>
                </a:solidFill>
                <a:latin typeface="Malgun Gothic" panose="020B0503020000020004" pitchFamily="34" charset="-127"/>
                <a:ea typeface="Malgun Gothic" panose="020B0503020000020004" pitchFamily="34" charset="-127"/>
              </a:rPr>
              <a:t>0 </a:t>
            </a:r>
            <a:r>
              <a:rPr lang="en-US" sz="2000" dirty="0">
                <a:solidFill>
                  <a:schemeClr val="bg1">
                    <a:lumMod val="85000"/>
                  </a:schemeClr>
                </a:solidFill>
                <a:latin typeface="Malgun Gothic" panose="020B0503020000020004" pitchFamily="34" charset="-127"/>
                <a:ea typeface="Malgun Gothic" panose="020B0503020000020004" pitchFamily="34" charset="-127"/>
              </a:rPr>
              <a:t>trends</a:t>
            </a:r>
            <a:endParaRPr lang="en-GB" sz="2000" dirty="0">
              <a:solidFill>
                <a:schemeClr val="bg1">
                  <a:lumMod val="85000"/>
                </a:schemeClr>
              </a:solidFill>
              <a:latin typeface="Malgun Gothic" panose="020B0503020000020004" pitchFamily="34" charset="-127"/>
              <a:ea typeface="Malgun Gothic" panose="020B0503020000020004" pitchFamily="34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50229370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14" grpId="0" animBg="1"/>
      <p:bldP spid="30" grpId="0" animBg="1"/>
      <p:bldP spid="4" grpId="0" animBg="1"/>
      <p:bldP spid="18" grpId="0" animBg="1"/>
      <p:bldP spid="13" grpId="0" animBg="1"/>
      <p:bldP spid="12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490EE45-C134-4609-8615-545CD200CFD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en-US"/>
              <a:t>Max Planck Institute for demographic research                                                                                                                                                                               SEASONAL MORTALITY IN EUROPE | 26/09/2024</a:t>
            </a:r>
            <a:endParaRPr lang="de-DE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FAA395A-B737-4B77-BD8E-3CCCB8DD8EF8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626" t="4684" r="2342" b="1147"/>
          <a:stretch/>
        </p:blipFill>
        <p:spPr>
          <a:xfrm>
            <a:off x="458848" y="1235967"/>
            <a:ext cx="9241333" cy="5124906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EA72D25A-9B0E-490F-850A-97D6088C7AC3}"/>
              </a:ext>
            </a:extLst>
          </p:cNvPr>
          <p:cNvSpPr txBox="1"/>
          <p:nvPr/>
        </p:nvSpPr>
        <p:spPr>
          <a:xfrm>
            <a:off x="767482" y="355562"/>
            <a:ext cx="10657035" cy="615553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/>
            <a:r>
              <a:rPr lang="en-US" sz="2000" b="1" u="dashLongHeavy" dirty="0">
                <a:solidFill>
                  <a:schemeClr val="tx2"/>
                </a:solidFill>
                <a:latin typeface="Malgun Gothic" panose="020B0503020000020004" pitchFamily="34" charset="-127"/>
                <a:ea typeface="Malgun Gothic" panose="020B0503020000020004" pitchFamily="34" charset="-127"/>
              </a:rPr>
              <a:t>Annual</a:t>
            </a:r>
            <a:r>
              <a:rPr lang="en-US" sz="2000" b="1" dirty="0">
                <a:solidFill>
                  <a:schemeClr val="tx2"/>
                </a:solidFill>
                <a:latin typeface="Malgun Gothic" panose="020B0503020000020004" pitchFamily="34" charset="-127"/>
                <a:ea typeface="Malgun Gothic" panose="020B0503020000020004" pitchFamily="34" charset="-127"/>
              </a:rPr>
              <a:t> and </a:t>
            </a:r>
            <a:r>
              <a:rPr lang="en-US" sz="2000" b="1" u="sng" dirty="0">
                <a:solidFill>
                  <a:schemeClr val="tx2"/>
                </a:solidFill>
                <a:latin typeface="Malgun Gothic" panose="020B0503020000020004" pitchFamily="34" charset="-127"/>
                <a:ea typeface="Malgun Gothic" panose="020B0503020000020004" pitchFamily="34" charset="-127"/>
              </a:rPr>
              <a:t>seasonal</a:t>
            </a:r>
            <a:r>
              <a:rPr lang="en-US" sz="2000" b="1" dirty="0">
                <a:solidFill>
                  <a:schemeClr val="tx2"/>
                </a:solidFill>
                <a:latin typeface="Malgun Gothic" panose="020B0503020000020004" pitchFamily="34" charset="-127"/>
                <a:ea typeface="Malgun Gothic" panose="020B0503020000020004" pitchFamily="34" charset="-127"/>
              </a:rPr>
              <a:t> life expectancy at birth, European median*,</a:t>
            </a:r>
          </a:p>
          <a:p>
            <a:r>
              <a:rPr lang="en-US" sz="2000" b="1" dirty="0">
                <a:solidFill>
                  <a:schemeClr val="tx2"/>
                </a:solidFill>
                <a:latin typeface="Malgun Gothic" panose="020B0503020000020004" pitchFamily="34" charset="-127"/>
                <a:ea typeface="Malgun Gothic" panose="020B0503020000020004" pitchFamily="34" charset="-127"/>
              </a:rPr>
              <a:t>by sex, 2000-2019</a:t>
            </a:r>
          </a:p>
        </p:txBody>
      </p:sp>
      <p:sp>
        <p:nvSpPr>
          <p:cNvPr id="8" name="Flowchart: Card 7">
            <a:extLst>
              <a:ext uri="{FF2B5EF4-FFF2-40B4-BE49-F238E27FC236}">
                <a16:creationId xmlns:a16="http://schemas.microsoft.com/office/drawing/2014/main" id="{3E502C4A-4567-4A6F-BBBB-13BEEC663FA0}"/>
              </a:ext>
            </a:extLst>
          </p:cNvPr>
          <p:cNvSpPr/>
          <p:nvPr/>
        </p:nvSpPr>
        <p:spPr>
          <a:xfrm rot="10800000">
            <a:off x="9860814" y="1746743"/>
            <a:ext cx="2158873" cy="3416992"/>
          </a:xfrm>
          <a:custGeom>
            <a:avLst/>
            <a:gdLst>
              <a:gd name="connsiteX0" fmla="*/ 0 w 10000"/>
              <a:gd name="connsiteY0" fmla="*/ 2000 h 10000"/>
              <a:gd name="connsiteX1" fmla="*/ 2000 w 10000"/>
              <a:gd name="connsiteY1" fmla="*/ 0 h 10000"/>
              <a:gd name="connsiteX2" fmla="*/ 10000 w 10000"/>
              <a:gd name="connsiteY2" fmla="*/ 0 h 10000"/>
              <a:gd name="connsiteX3" fmla="*/ 10000 w 10000"/>
              <a:gd name="connsiteY3" fmla="*/ 10000 h 10000"/>
              <a:gd name="connsiteX4" fmla="*/ 0 w 10000"/>
              <a:gd name="connsiteY4" fmla="*/ 10000 h 10000"/>
              <a:gd name="connsiteX5" fmla="*/ 0 w 10000"/>
              <a:gd name="connsiteY5" fmla="*/ 2000 h 10000"/>
              <a:gd name="connsiteX0" fmla="*/ 0 w 10000"/>
              <a:gd name="connsiteY0" fmla="*/ 1266 h 10000"/>
              <a:gd name="connsiteX1" fmla="*/ 2000 w 10000"/>
              <a:gd name="connsiteY1" fmla="*/ 0 h 10000"/>
              <a:gd name="connsiteX2" fmla="*/ 10000 w 10000"/>
              <a:gd name="connsiteY2" fmla="*/ 0 h 10000"/>
              <a:gd name="connsiteX3" fmla="*/ 10000 w 10000"/>
              <a:gd name="connsiteY3" fmla="*/ 10000 h 10000"/>
              <a:gd name="connsiteX4" fmla="*/ 0 w 10000"/>
              <a:gd name="connsiteY4" fmla="*/ 10000 h 10000"/>
              <a:gd name="connsiteX5" fmla="*/ 0 w 10000"/>
              <a:gd name="connsiteY5" fmla="*/ 1266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00" h="10000">
                <a:moveTo>
                  <a:pt x="0" y="1266"/>
                </a:moveTo>
                <a:lnTo>
                  <a:pt x="2000" y="0"/>
                </a:lnTo>
                <a:lnTo>
                  <a:pt x="10000" y="0"/>
                </a:lnTo>
                <a:lnTo>
                  <a:pt x="10000" y="10000"/>
                </a:lnTo>
                <a:lnTo>
                  <a:pt x="0" y="10000"/>
                </a:lnTo>
                <a:lnTo>
                  <a:pt x="0" y="1266"/>
                </a:lnTo>
                <a:close/>
              </a:path>
            </a:pathLst>
          </a:custGeom>
          <a:solidFill>
            <a:schemeClr val="accent4">
              <a:lumMod val="40000"/>
              <a:lumOff val="60000"/>
            </a:schemeClr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GB" sz="1300" b="1" dirty="0">
              <a:solidFill>
                <a:schemeClr val="tx1">
                  <a:lumMod val="65000"/>
                  <a:lumOff val="35000"/>
                </a:schemeClr>
              </a:solidFill>
              <a:latin typeface="Malgun Gothic" panose="020B0503020000020004" pitchFamily="34" charset="-127"/>
              <a:ea typeface="Malgun Gothic" panose="020B0503020000020004" pitchFamily="34" charset="-127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651E5650-A970-4807-93A7-5C1518C7E620}"/>
              </a:ext>
            </a:extLst>
          </p:cNvPr>
          <p:cNvSpPr txBox="1"/>
          <p:nvPr/>
        </p:nvSpPr>
        <p:spPr>
          <a:xfrm>
            <a:off x="9955736" y="1854801"/>
            <a:ext cx="2025587" cy="3200876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marL="108000" indent="-108000">
              <a:spcBef>
                <a:spcPts val="1150"/>
              </a:spcBef>
              <a:buClr>
                <a:srgbClr val="116656"/>
              </a:buClr>
              <a:buSzPct val="120000"/>
              <a:buFont typeface="Arial" panose="020B0604020202020204" pitchFamily="34" charset="0"/>
              <a:buChar char="•"/>
            </a:pPr>
            <a:r>
              <a:rPr lang="en-US" dirty="0">
                <a:latin typeface="Malgun Gothic" panose="020B0503020000020004" pitchFamily="34" charset="-127"/>
                <a:ea typeface="Malgun Gothic" panose="020B0503020000020004" pitchFamily="34" charset="-127"/>
              </a:rPr>
              <a:t>Drops during wintertime but not systematic increase/decrease</a:t>
            </a:r>
          </a:p>
          <a:p>
            <a:pPr marL="108000" indent="-108000">
              <a:spcBef>
                <a:spcPts val="1150"/>
              </a:spcBef>
              <a:buClr>
                <a:srgbClr val="116656"/>
              </a:buClr>
              <a:buSzPct val="120000"/>
              <a:buFont typeface="Arial" panose="020B0604020202020204" pitchFamily="34" charset="0"/>
              <a:buChar char="•"/>
            </a:pPr>
            <a:r>
              <a:rPr lang="en-US" dirty="0">
                <a:latin typeface="Malgun Gothic" panose="020B0503020000020004" pitchFamily="34" charset="-127"/>
                <a:ea typeface="Malgun Gothic" panose="020B0503020000020004" pitchFamily="34" charset="-127"/>
              </a:rPr>
              <a:t>Largest drops in seasonal life expectancy at birth in winter 2009 (1-year ca.) and 2015 (1.2 years ca.)</a:t>
            </a:r>
            <a:endParaRPr lang="en-GB" b="1" dirty="0">
              <a:solidFill>
                <a:schemeClr val="tx1">
                  <a:lumMod val="65000"/>
                  <a:lumOff val="35000"/>
                </a:schemeClr>
              </a:solidFill>
              <a:latin typeface="Malgun Gothic" panose="020B0503020000020004" pitchFamily="34" charset="-127"/>
              <a:ea typeface="Malgun Gothic" panose="020B0503020000020004" pitchFamily="34" charset="-127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CB1277E-62BE-4A6A-BFBA-8E1275277C9E}"/>
              </a:ext>
            </a:extLst>
          </p:cNvPr>
          <p:cNvSpPr txBox="1"/>
          <p:nvPr/>
        </p:nvSpPr>
        <p:spPr>
          <a:xfrm>
            <a:off x="9955736" y="5683074"/>
            <a:ext cx="1777416" cy="553998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l">
              <a:spcBef>
                <a:spcPts val="1150"/>
              </a:spcBef>
            </a:pPr>
            <a:r>
              <a:rPr lang="en-US" sz="1200" dirty="0">
                <a:latin typeface="Malgun Gothic" panose="020B0503020000020004" pitchFamily="34" charset="-127"/>
                <a:ea typeface="Malgun Gothic" panose="020B0503020000020004" pitchFamily="34" charset="-127"/>
              </a:rPr>
              <a:t>*median life expectancy of 20 selected European countries</a:t>
            </a:r>
          </a:p>
        </p:txBody>
      </p:sp>
    </p:spTree>
    <p:extLst>
      <p:ext uri="{BB962C8B-B14F-4D97-AF65-F5344CB8AC3E}">
        <p14:creationId xmlns:p14="http://schemas.microsoft.com/office/powerpoint/2010/main" val="347574297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2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MluwZqXeC7BgPmxNJgfV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MluwZqXeC7BgPmxNJgfV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vw6CLxiq3S5Do27j6Qo1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KXmoVJ2KoGvEqYxsCMaM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g9zRxN9oF5_.vOFN9BDZ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OwljrLqbAKeirqT9tDIj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kh33WPtjMxatJYF3LeRp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MluwZqXeC7BgPmxNJgfV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MluwZqXeC7BgPmxNJgfV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MluwZqXeC7BgPmxNJgfV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PG_2020">
  <a:themeElements>
    <a:clrScheme name="MPG2020">
      <a:dk1>
        <a:srgbClr val="000000"/>
      </a:dk1>
      <a:lt1>
        <a:srgbClr val="FFFFFF"/>
      </a:lt1>
      <a:dk2>
        <a:srgbClr val="005555"/>
      </a:dk2>
      <a:lt2>
        <a:srgbClr val="C6D325"/>
      </a:lt2>
      <a:accent1>
        <a:srgbClr val="006C66"/>
      </a:accent1>
      <a:accent2>
        <a:srgbClr val="D2DC51"/>
      </a:accent2>
      <a:accent3>
        <a:srgbClr val="348A85"/>
      </a:accent3>
      <a:accent4>
        <a:srgbClr val="9AC5C2"/>
      </a:accent4>
      <a:accent5>
        <a:srgbClr val="EF7C00"/>
      </a:accent5>
      <a:accent6>
        <a:srgbClr val="F5B167"/>
      </a:accent6>
      <a:hlink>
        <a:srgbClr val="005555"/>
      </a:hlink>
      <a:folHlink>
        <a:srgbClr val="A7A7A8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19050" cmpd="sng">
          <a:noFill/>
          <a:prstDash val="dash"/>
          <a:tailEnd type="triangle" w="lg" len="med"/>
        </a:ln>
      </a:spPr>
      <a:bodyPr wrap="square" lIns="144000" tIns="108000" rIns="144000" bIns="144000" rtlCol="0" anchor="t" anchorCtr="0"/>
      <a:lstStyle>
        <a:defPPr algn="l">
          <a:spcBef>
            <a:spcPts val="1150"/>
          </a:spcBef>
          <a:buClr>
            <a:srgbClr val="116656"/>
          </a:buClr>
          <a:buSzPct val="120000"/>
          <a:defRPr sz="1300" b="1"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spDef>
    <a:lnDef>
      <a:spPr>
        <a:ln w="19050" cmpd="sng">
          <a:prstDash val="dash"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 anchor="t" anchorCtr="0">
        <a:spAutoFit/>
      </a:bodyPr>
      <a:lstStyle>
        <a:defPPr marL="180000" indent="-180000" algn="l">
          <a:lnSpc>
            <a:spcPts val="2300"/>
          </a:lnSpc>
          <a:spcBef>
            <a:spcPts val="1150"/>
          </a:spcBef>
          <a:buFont typeface="Arial" panose="020B0604020202020204" pitchFamily="34" charset="0"/>
          <a:buChar char="•"/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2021-MPIDR-TemplateTalks.pptx" id="{C0D2E4FB-BA3E-4262-AB47-9ED1F735E32C}" vid="{7F99E8A2-E5AC-4FBE-B771-06B5D77FFF85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2021-MPIDR-TemplateTalks</Template>
  <TotalTime>5921</TotalTime>
  <Words>1697</Words>
  <Application>Microsoft Office PowerPoint</Application>
  <PresentationFormat>Widescreen</PresentationFormat>
  <Paragraphs>440</Paragraphs>
  <Slides>22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2</vt:i4>
      </vt:variant>
    </vt:vector>
  </HeadingPairs>
  <TitlesOfParts>
    <vt:vector size="33" baseType="lpstr">
      <vt:lpstr>Malgun Gothic</vt:lpstr>
      <vt:lpstr>Malgun Gothic Semilight</vt:lpstr>
      <vt:lpstr>.SF NS Symbols Regular</vt:lpstr>
      <vt:lpstr>Arial</vt:lpstr>
      <vt:lpstr>Bahnschrift</vt:lpstr>
      <vt:lpstr>Calibri</vt:lpstr>
      <vt:lpstr>Symbol</vt:lpstr>
      <vt:lpstr>Times New Roman</vt:lpstr>
      <vt:lpstr>Wingdings 3</vt:lpstr>
      <vt:lpstr>MPG_2020</vt:lpstr>
      <vt:lpstr>think-cell Folie</vt:lpstr>
      <vt:lpstr>Seasonality in mortality and its impact on life expectancy levels and trends across Europe</vt:lpstr>
      <vt:lpstr>PowerPoint Presentation</vt:lpstr>
      <vt:lpstr>seasonality</vt:lpstr>
      <vt:lpstr>PowerPoint Presentation</vt:lpstr>
      <vt:lpstr>Seasonality, ageing and climate change</vt:lpstr>
      <vt:lpstr>Gap in the literature</vt:lpstr>
      <vt:lpstr>PowerPoint Presentation</vt:lpstr>
      <vt:lpstr>AIM of the study</vt:lpstr>
      <vt:lpstr>PowerPoint Presentation</vt:lpstr>
      <vt:lpstr>PowerPoint Presentation</vt:lpstr>
      <vt:lpstr>PowerPoint Presentation</vt:lpstr>
      <vt:lpstr>Seasonal excess mortality</vt:lpstr>
      <vt:lpstr>PowerPoint Presentation</vt:lpstr>
      <vt:lpstr>PowerPoint Presentation</vt:lpstr>
      <vt:lpstr>PowerPoint Presentation</vt:lpstr>
      <vt:lpstr>Impact on trends</vt:lpstr>
      <vt:lpstr>conclusions</vt:lpstr>
      <vt:lpstr>Thank you for your attention!</vt:lpstr>
      <vt:lpstr>PowerPoint Presentation</vt:lpstr>
      <vt:lpstr>PowerPoint Presentation</vt:lpstr>
      <vt:lpstr>PowerPoint Presentation</vt:lpstr>
      <vt:lpstr>PowerPoint Presentation</vt:lpstr>
    </vt:vector>
  </TitlesOfParts>
  <Company>Max-Planck-Gesellschaft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LABORATORY_Option A (ABBREVIATION – IF APPLICABLE)</dc:title>
  <dc:creator>Marinetti, Isabella</dc:creator>
  <cp:lastModifiedBy>Marinetti, Isabella</cp:lastModifiedBy>
  <cp:revision>106</cp:revision>
  <dcterms:created xsi:type="dcterms:W3CDTF">2024-06-03T11:54:14Z</dcterms:created>
  <dcterms:modified xsi:type="dcterms:W3CDTF">2024-09-25T13:11:32Z</dcterms:modified>
</cp:coreProperties>
</file>